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4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9" r:id="rId3"/>
    <p:sldId id="258" r:id="rId4"/>
    <p:sldId id="270" r:id="rId5"/>
    <p:sldId id="294" r:id="rId6"/>
    <p:sldId id="296" r:id="rId7"/>
    <p:sldId id="295" r:id="rId8"/>
    <p:sldId id="297" r:id="rId9"/>
    <p:sldId id="298" r:id="rId10"/>
    <p:sldId id="302" r:id="rId11"/>
    <p:sldId id="303" r:id="rId12"/>
    <p:sldId id="304" r:id="rId13"/>
    <p:sldId id="305" r:id="rId14"/>
    <p:sldId id="310" r:id="rId15"/>
    <p:sldId id="312" r:id="rId16"/>
    <p:sldId id="320" r:id="rId17"/>
    <p:sldId id="321" r:id="rId18"/>
    <p:sldId id="322" r:id="rId19"/>
    <p:sldId id="323" r:id="rId20"/>
    <p:sldId id="324" r:id="rId21"/>
    <p:sldId id="261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7F00"/>
    <a:srgbClr val="73777B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475" autoAdjust="0"/>
    <p:restoredTop sz="94270" autoAdjust="0"/>
  </p:normalViewPr>
  <p:slideViewPr>
    <p:cSldViewPr snapToGrid="0">
      <p:cViewPr varScale="1">
        <p:scale>
          <a:sx n="69" d="100"/>
          <a:sy n="69" d="100"/>
        </p:scale>
        <p:origin x="1038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86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B8D2EA-C66D-48CD-AE16-9DC7BFD92F1E}" type="datetimeFigureOut">
              <a:rPr lang="zh-CN" altLang="en-US" smtClean="0"/>
              <a:t>2020/8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7BA2AA-A6F2-4381-A2F9-027513D054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8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0" name="矩形 30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0">
                <a:schemeClr val="accent1">
                  <a:lumMod val="50000"/>
                  <a:lumOff val="50000"/>
                </a:schemeClr>
              </a:gs>
              <a:gs pos="100000">
                <a:schemeClr val="accent1"/>
              </a:gs>
              <a:gs pos="62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2526"/>
          <p:cNvSpPr/>
          <p:nvPr userDrawn="1"/>
        </p:nvSpPr>
        <p:spPr bwMode="auto">
          <a:xfrm>
            <a:off x="0" y="0"/>
            <a:ext cx="4552950" cy="6230938"/>
          </a:xfrm>
          <a:custGeom>
            <a:avLst/>
            <a:gdLst>
              <a:gd name="T0" fmla="*/ 0 w 2402"/>
              <a:gd name="T1" fmla="*/ 3293 h 3293"/>
              <a:gd name="T2" fmla="*/ 2402 w 2402"/>
              <a:gd name="T3" fmla="*/ 415 h 3293"/>
              <a:gd name="T4" fmla="*/ 2371 w 2402"/>
              <a:gd name="T5" fmla="*/ 0 h 3293"/>
              <a:gd name="T6" fmla="*/ 0 w 2402"/>
              <a:gd name="T7" fmla="*/ 0 h 3293"/>
              <a:gd name="T8" fmla="*/ 0 w 2402"/>
              <a:gd name="T9" fmla="*/ 3293 h 3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02" h="3293">
                <a:moveTo>
                  <a:pt x="0" y="3293"/>
                </a:moveTo>
                <a:cubicBezTo>
                  <a:pt x="1379" y="2978"/>
                  <a:pt x="2402" y="1809"/>
                  <a:pt x="2402" y="415"/>
                </a:cubicBezTo>
                <a:cubicBezTo>
                  <a:pt x="2402" y="274"/>
                  <a:pt x="2392" y="135"/>
                  <a:pt x="2371" y="0"/>
                </a:cubicBezTo>
                <a:cubicBezTo>
                  <a:pt x="0" y="0"/>
                  <a:pt x="0" y="0"/>
                  <a:pt x="0" y="0"/>
                </a:cubicBezTo>
                <a:lnTo>
                  <a:pt x="0" y="3293"/>
                </a:lnTo>
                <a:close/>
              </a:path>
            </a:pathLst>
          </a:custGeom>
          <a:solidFill>
            <a:srgbClr val="347A91">
              <a:alpha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" name="Freeform 2527"/>
          <p:cNvSpPr/>
          <p:nvPr userDrawn="1"/>
        </p:nvSpPr>
        <p:spPr bwMode="auto">
          <a:xfrm>
            <a:off x="0" y="0"/>
            <a:ext cx="5484813" cy="6859588"/>
          </a:xfrm>
          <a:custGeom>
            <a:avLst/>
            <a:gdLst>
              <a:gd name="T0" fmla="*/ 0 w 2894"/>
              <a:gd name="T1" fmla="*/ 3625 h 3625"/>
              <a:gd name="T2" fmla="*/ 2894 w 2894"/>
              <a:gd name="T3" fmla="*/ 675 h 3625"/>
              <a:gd name="T4" fmla="*/ 2812 w 2894"/>
              <a:gd name="T5" fmla="*/ 0 h 3625"/>
              <a:gd name="T6" fmla="*/ 0 w 2894"/>
              <a:gd name="T7" fmla="*/ 0 h 3625"/>
              <a:gd name="T8" fmla="*/ 0 w 2894"/>
              <a:gd name="T9" fmla="*/ 3625 h 3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94" h="3625">
                <a:moveTo>
                  <a:pt x="0" y="3625"/>
                </a:moveTo>
                <a:cubicBezTo>
                  <a:pt x="1621" y="3497"/>
                  <a:pt x="2894" y="2225"/>
                  <a:pt x="2894" y="675"/>
                </a:cubicBezTo>
                <a:cubicBezTo>
                  <a:pt x="2894" y="442"/>
                  <a:pt x="2866" y="217"/>
                  <a:pt x="2812" y="0"/>
                </a:cubicBezTo>
                <a:cubicBezTo>
                  <a:pt x="0" y="0"/>
                  <a:pt x="0" y="0"/>
                  <a:pt x="0" y="0"/>
                </a:cubicBezTo>
                <a:lnTo>
                  <a:pt x="0" y="3625"/>
                </a:lnTo>
                <a:close/>
              </a:path>
            </a:pathLst>
          </a:custGeom>
          <a:solidFill>
            <a:srgbClr val="347A91">
              <a:alpha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12906" name="组合 12905"/>
          <p:cNvGrpSpPr/>
          <p:nvPr userDrawn="1"/>
        </p:nvGrpSpPr>
        <p:grpSpPr>
          <a:xfrm>
            <a:off x="9924008" y="0"/>
            <a:ext cx="2281657" cy="2569824"/>
            <a:chOff x="9924008" y="0"/>
            <a:chExt cx="2281657" cy="2569824"/>
          </a:xfrm>
        </p:grpSpPr>
        <p:sp>
          <p:nvSpPr>
            <p:cNvPr id="1223" name="任意多边形: 形状 1222"/>
            <p:cNvSpPr/>
            <p:nvPr userDrawn="1"/>
          </p:nvSpPr>
          <p:spPr>
            <a:xfrm>
              <a:off x="9924008" y="0"/>
              <a:ext cx="2281657" cy="2569824"/>
            </a:xfrm>
            <a:custGeom>
              <a:avLst/>
              <a:gdLst>
                <a:gd name="connsiteX0" fmla="*/ 211819 w 2281657"/>
                <a:gd name="connsiteY0" fmla="*/ 0 h 2569824"/>
                <a:gd name="connsiteX1" fmla="*/ 2281657 w 2281657"/>
                <a:gd name="connsiteY1" fmla="*/ 0 h 2569824"/>
                <a:gd name="connsiteX2" fmla="*/ 2281657 w 2281657"/>
                <a:gd name="connsiteY2" fmla="*/ 2481872 h 2569824"/>
                <a:gd name="connsiteX3" fmla="*/ 2254841 w 2281657"/>
                <a:gd name="connsiteY3" fmla="*/ 2491687 h 2569824"/>
                <a:gd name="connsiteX4" fmla="*/ 1738010 w 2281657"/>
                <a:gd name="connsiteY4" fmla="*/ 2569824 h 2569824"/>
                <a:gd name="connsiteX5" fmla="*/ 0 w 2281657"/>
                <a:gd name="connsiteY5" fmla="*/ 831814 h 2569824"/>
                <a:gd name="connsiteX6" fmla="*/ 209768 w 2281657"/>
                <a:gd name="connsiteY6" fmla="*/ 3375 h 2569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1657" h="2569824">
                  <a:moveTo>
                    <a:pt x="211819" y="0"/>
                  </a:moveTo>
                  <a:lnTo>
                    <a:pt x="2281657" y="0"/>
                  </a:lnTo>
                  <a:lnTo>
                    <a:pt x="2281657" y="2481872"/>
                  </a:lnTo>
                  <a:lnTo>
                    <a:pt x="2254841" y="2491687"/>
                  </a:lnTo>
                  <a:cubicBezTo>
                    <a:pt x="2091574" y="2542468"/>
                    <a:pt x="1917987" y="2569824"/>
                    <a:pt x="1738010" y="2569824"/>
                  </a:cubicBezTo>
                  <a:cubicBezTo>
                    <a:pt x="778134" y="2569824"/>
                    <a:pt x="0" y="1791690"/>
                    <a:pt x="0" y="831814"/>
                  </a:cubicBezTo>
                  <a:cubicBezTo>
                    <a:pt x="0" y="531853"/>
                    <a:pt x="75990" y="249640"/>
                    <a:pt x="209768" y="33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5" name="任意多边形: 形状 1224"/>
            <p:cNvSpPr/>
            <p:nvPr userDrawn="1"/>
          </p:nvSpPr>
          <p:spPr>
            <a:xfrm>
              <a:off x="10026690" y="0"/>
              <a:ext cx="2165310" cy="2469344"/>
            </a:xfrm>
            <a:custGeom>
              <a:avLst/>
              <a:gdLst>
                <a:gd name="connsiteX0" fmla="*/ 230499 w 2165310"/>
                <a:gd name="connsiteY0" fmla="*/ 0 h 2469344"/>
                <a:gd name="connsiteX1" fmla="*/ 2165310 w 2165310"/>
                <a:gd name="connsiteY1" fmla="*/ 0 h 2469344"/>
                <a:gd name="connsiteX2" fmla="*/ 2165310 w 2165310"/>
                <a:gd name="connsiteY2" fmla="*/ 2379833 h 2469344"/>
                <a:gd name="connsiteX3" fmla="*/ 2121623 w 2165310"/>
                <a:gd name="connsiteY3" fmla="*/ 2395823 h 2469344"/>
                <a:gd name="connsiteX4" fmla="*/ 1635327 w 2165310"/>
                <a:gd name="connsiteY4" fmla="*/ 2469344 h 2469344"/>
                <a:gd name="connsiteX5" fmla="*/ 0 w 2165310"/>
                <a:gd name="connsiteY5" fmla="*/ 834017 h 2469344"/>
                <a:gd name="connsiteX6" fmla="*/ 197375 w 2165310"/>
                <a:gd name="connsiteY6" fmla="*/ 54523 h 246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310" h="2469344">
                  <a:moveTo>
                    <a:pt x="230499" y="0"/>
                  </a:moveTo>
                  <a:lnTo>
                    <a:pt x="2165310" y="0"/>
                  </a:lnTo>
                  <a:lnTo>
                    <a:pt x="2165310" y="2379833"/>
                  </a:lnTo>
                  <a:lnTo>
                    <a:pt x="2121623" y="2395823"/>
                  </a:lnTo>
                  <a:cubicBezTo>
                    <a:pt x="1968002" y="2443604"/>
                    <a:pt x="1804671" y="2469344"/>
                    <a:pt x="1635327" y="2469344"/>
                  </a:cubicBezTo>
                  <a:cubicBezTo>
                    <a:pt x="732161" y="2469344"/>
                    <a:pt x="0" y="1737183"/>
                    <a:pt x="0" y="834017"/>
                  </a:cubicBezTo>
                  <a:cubicBezTo>
                    <a:pt x="0" y="551778"/>
                    <a:pt x="71500" y="286238"/>
                    <a:pt x="197375" y="545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905" name="组合 12904"/>
          <p:cNvGrpSpPr/>
          <p:nvPr userDrawn="1"/>
        </p:nvGrpSpPr>
        <p:grpSpPr>
          <a:xfrm>
            <a:off x="693514" y="2904"/>
            <a:ext cx="9124773" cy="3631888"/>
            <a:chOff x="693514" y="2904"/>
            <a:chExt cx="9124773" cy="3631888"/>
          </a:xfrm>
        </p:grpSpPr>
        <p:sp>
          <p:nvSpPr>
            <p:cNvPr id="12715" name="Oval 3227"/>
            <p:cNvSpPr>
              <a:spLocks noChangeArrowheads="1"/>
            </p:cNvSpPr>
            <p:nvPr userDrawn="1"/>
          </p:nvSpPr>
          <p:spPr bwMode="auto">
            <a:xfrm>
              <a:off x="9760681" y="1594450"/>
              <a:ext cx="57606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16" name="Oval 3228"/>
            <p:cNvSpPr>
              <a:spLocks noChangeArrowheads="1"/>
            </p:cNvSpPr>
            <p:nvPr userDrawn="1"/>
          </p:nvSpPr>
          <p:spPr bwMode="auto">
            <a:xfrm>
              <a:off x="9299656" y="604423"/>
              <a:ext cx="57606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grpSp>
          <p:nvGrpSpPr>
            <p:cNvPr id="12904" name="组合 12903"/>
            <p:cNvGrpSpPr/>
            <p:nvPr userDrawn="1"/>
          </p:nvGrpSpPr>
          <p:grpSpPr>
            <a:xfrm>
              <a:off x="693514" y="2904"/>
              <a:ext cx="7625493" cy="3631888"/>
              <a:chOff x="693514" y="2904"/>
              <a:chExt cx="7625493" cy="3631888"/>
            </a:xfrm>
          </p:grpSpPr>
          <p:sp>
            <p:nvSpPr>
              <p:cNvPr id="12453" name="Freeform 2851"/>
              <p:cNvSpPr/>
              <p:nvPr userDrawn="1"/>
            </p:nvSpPr>
            <p:spPr bwMode="auto">
              <a:xfrm>
                <a:off x="6114721" y="2506940"/>
                <a:ext cx="704715" cy="700811"/>
              </a:xfrm>
              <a:custGeom>
                <a:avLst/>
                <a:gdLst>
                  <a:gd name="T0" fmla="*/ 366 w 377"/>
                  <a:gd name="T1" fmla="*/ 168 h 376"/>
                  <a:gd name="T2" fmla="*/ 168 w 377"/>
                  <a:gd name="T3" fmla="*/ 11 h 376"/>
                  <a:gd name="T4" fmla="*/ 12 w 377"/>
                  <a:gd name="T5" fmla="*/ 208 h 376"/>
                  <a:gd name="T6" fmla="*/ 209 w 377"/>
                  <a:gd name="T7" fmla="*/ 365 h 376"/>
                  <a:gd name="T8" fmla="*/ 366 w 377"/>
                  <a:gd name="T9" fmla="*/ 168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376">
                    <a:moveTo>
                      <a:pt x="366" y="168"/>
                    </a:moveTo>
                    <a:cubicBezTo>
                      <a:pt x="354" y="70"/>
                      <a:pt x="266" y="0"/>
                      <a:pt x="168" y="11"/>
                    </a:cubicBezTo>
                    <a:cubicBezTo>
                      <a:pt x="71" y="22"/>
                      <a:pt x="0" y="110"/>
                      <a:pt x="12" y="208"/>
                    </a:cubicBezTo>
                    <a:cubicBezTo>
                      <a:pt x="23" y="306"/>
                      <a:pt x="111" y="376"/>
                      <a:pt x="209" y="365"/>
                    </a:cubicBezTo>
                    <a:cubicBezTo>
                      <a:pt x="307" y="354"/>
                      <a:pt x="377" y="266"/>
                      <a:pt x="366" y="168"/>
                    </a:cubicBezTo>
                  </a:path>
                </a:pathLst>
              </a:custGeom>
              <a:solidFill>
                <a:srgbClr val="2A4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454" name="Freeform 2852"/>
              <p:cNvSpPr/>
              <p:nvPr userDrawn="1"/>
            </p:nvSpPr>
            <p:spPr bwMode="auto">
              <a:xfrm>
                <a:off x="6521389" y="2542725"/>
                <a:ext cx="200443" cy="527083"/>
              </a:xfrm>
              <a:custGeom>
                <a:avLst/>
                <a:gdLst>
                  <a:gd name="T0" fmla="*/ 23 w 141"/>
                  <a:gd name="T1" fmla="*/ 265 h 371"/>
                  <a:gd name="T2" fmla="*/ 29 w 141"/>
                  <a:gd name="T3" fmla="*/ 259 h 371"/>
                  <a:gd name="T4" fmla="*/ 47 w 141"/>
                  <a:gd name="T5" fmla="*/ 242 h 371"/>
                  <a:gd name="T6" fmla="*/ 53 w 141"/>
                  <a:gd name="T7" fmla="*/ 238 h 371"/>
                  <a:gd name="T8" fmla="*/ 60 w 141"/>
                  <a:gd name="T9" fmla="*/ 237 h 371"/>
                  <a:gd name="T10" fmla="*/ 67 w 141"/>
                  <a:gd name="T11" fmla="*/ 237 h 371"/>
                  <a:gd name="T12" fmla="*/ 72 w 141"/>
                  <a:gd name="T13" fmla="*/ 237 h 371"/>
                  <a:gd name="T14" fmla="*/ 85 w 141"/>
                  <a:gd name="T15" fmla="*/ 231 h 371"/>
                  <a:gd name="T16" fmla="*/ 84 w 141"/>
                  <a:gd name="T17" fmla="*/ 227 h 371"/>
                  <a:gd name="T18" fmla="*/ 76 w 141"/>
                  <a:gd name="T19" fmla="*/ 209 h 371"/>
                  <a:gd name="T20" fmla="*/ 45 w 141"/>
                  <a:gd name="T21" fmla="*/ 210 h 371"/>
                  <a:gd name="T22" fmla="*/ 14 w 141"/>
                  <a:gd name="T23" fmla="*/ 199 h 371"/>
                  <a:gd name="T24" fmla="*/ 21 w 141"/>
                  <a:gd name="T25" fmla="*/ 174 h 371"/>
                  <a:gd name="T26" fmla="*/ 20 w 141"/>
                  <a:gd name="T27" fmla="*/ 137 h 371"/>
                  <a:gd name="T28" fmla="*/ 31 w 141"/>
                  <a:gd name="T29" fmla="*/ 107 h 371"/>
                  <a:gd name="T30" fmla="*/ 50 w 141"/>
                  <a:gd name="T31" fmla="*/ 115 h 371"/>
                  <a:gd name="T32" fmla="*/ 63 w 141"/>
                  <a:gd name="T33" fmla="*/ 119 h 371"/>
                  <a:gd name="T34" fmla="*/ 64 w 141"/>
                  <a:gd name="T35" fmla="*/ 119 h 371"/>
                  <a:gd name="T36" fmla="*/ 70 w 141"/>
                  <a:gd name="T37" fmla="*/ 116 h 371"/>
                  <a:gd name="T38" fmla="*/ 73 w 141"/>
                  <a:gd name="T39" fmla="*/ 102 h 371"/>
                  <a:gd name="T40" fmla="*/ 57 w 141"/>
                  <a:gd name="T41" fmla="*/ 99 h 371"/>
                  <a:gd name="T42" fmla="*/ 53 w 141"/>
                  <a:gd name="T43" fmla="*/ 82 h 371"/>
                  <a:gd name="T44" fmla="*/ 51 w 141"/>
                  <a:gd name="T45" fmla="*/ 72 h 371"/>
                  <a:gd name="T46" fmla="*/ 46 w 141"/>
                  <a:gd name="T47" fmla="*/ 72 h 371"/>
                  <a:gd name="T48" fmla="*/ 31 w 141"/>
                  <a:gd name="T49" fmla="*/ 70 h 371"/>
                  <a:gd name="T50" fmla="*/ 15 w 141"/>
                  <a:gd name="T51" fmla="*/ 67 h 371"/>
                  <a:gd name="T52" fmla="*/ 7 w 141"/>
                  <a:gd name="T53" fmla="*/ 62 h 371"/>
                  <a:gd name="T54" fmla="*/ 3 w 141"/>
                  <a:gd name="T55" fmla="*/ 37 h 371"/>
                  <a:gd name="T56" fmla="*/ 5 w 141"/>
                  <a:gd name="T57" fmla="*/ 23 h 371"/>
                  <a:gd name="T58" fmla="*/ 7 w 141"/>
                  <a:gd name="T59" fmla="*/ 15 h 371"/>
                  <a:gd name="T60" fmla="*/ 10 w 141"/>
                  <a:gd name="T61" fmla="*/ 14 h 371"/>
                  <a:gd name="T62" fmla="*/ 53 w 141"/>
                  <a:gd name="T63" fmla="*/ 11 h 371"/>
                  <a:gd name="T64" fmla="*/ 88 w 141"/>
                  <a:gd name="T65" fmla="*/ 39 h 371"/>
                  <a:gd name="T66" fmla="*/ 119 w 141"/>
                  <a:gd name="T67" fmla="*/ 62 h 371"/>
                  <a:gd name="T68" fmla="*/ 123 w 141"/>
                  <a:gd name="T69" fmla="*/ 61 h 371"/>
                  <a:gd name="T70" fmla="*/ 138 w 141"/>
                  <a:gd name="T71" fmla="*/ 94 h 371"/>
                  <a:gd name="T72" fmla="*/ 138 w 141"/>
                  <a:gd name="T73" fmla="*/ 130 h 371"/>
                  <a:gd name="T74" fmla="*/ 140 w 141"/>
                  <a:gd name="T75" fmla="*/ 167 h 371"/>
                  <a:gd name="T76" fmla="*/ 129 w 141"/>
                  <a:gd name="T77" fmla="*/ 186 h 371"/>
                  <a:gd name="T78" fmla="*/ 106 w 141"/>
                  <a:gd name="T79" fmla="*/ 209 h 371"/>
                  <a:gd name="T80" fmla="*/ 99 w 141"/>
                  <a:gd name="T81" fmla="*/ 232 h 371"/>
                  <a:gd name="T82" fmla="*/ 83 w 141"/>
                  <a:gd name="T83" fmla="*/ 253 h 371"/>
                  <a:gd name="T84" fmla="*/ 89 w 141"/>
                  <a:gd name="T85" fmla="*/ 275 h 371"/>
                  <a:gd name="T86" fmla="*/ 82 w 141"/>
                  <a:gd name="T87" fmla="*/ 285 h 371"/>
                  <a:gd name="T88" fmla="*/ 81 w 141"/>
                  <a:gd name="T89" fmla="*/ 318 h 371"/>
                  <a:gd name="T90" fmla="*/ 59 w 141"/>
                  <a:gd name="T91" fmla="*/ 366 h 371"/>
                  <a:gd name="T92" fmla="*/ 58 w 141"/>
                  <a:gd name="T93" fmla="*/ 369 h 371"/>
                  <a:gd name="T94" fmla="*/ 53 w 141"/>
                  <a:gd name="T95" fmla="*/ 370 h 371"/>
                  <a:gd name="T96" fmla="*/ 49 w 141"/>
                  <a:gd name="T97" fmla="*/ 369 h 371"/>
                  <a:gd name="T98" fmla="*/ 49 w 141"/>
                  <a:gd name="T99" fmla="*/ 368 h 371"/>
                  <a:gd name="T100" fmla="*/ 47 w 141"/>
                  <a:gd name="T101" fmla="*/ 362 h 371"/>
                  <a:gd name="T102" fmla="*/ 53 w 141"/>
                  <a:gd name="T103" fmla="*/ 338 h 371"/>
                  <a:gd name="T104" fmla="*/ 39 w 141"/>
                  <a:gd name="T105" fmla="*/ 315 h 371"/>
                  <a:gd name="T106" fmla="*/ 35 w 141"/>
                  <a:gd name="T107" fmla="*/ 312 h 371"/>
                  <a:gd name="T108" fmla="*/ 22 w 141"/>
                  <a:gd name="T109" fmla="*/ 300 h 371"/>
                  <a:gd name="T110" fmla="*/ 16 w 141"/>
                  <a:gd name="T111" fmla="*/ 286 h 371"/>
                  <a:gd name="T112" fmla="*/ 23 w 141"/>
                  <a:gd name="T113" fmla="*/ 26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1" h="371">
                    <a:moveTo>
                      <a:pt x="23" y="265"/>
                    </a:moveTo>
                    <a:cubicBezTo>
                      <a:pt x="25" y="263"/>
                      <a:pt x="27" y="261"/>
                      <a:pt x="29" y="259"/>
                    </a:cubicBezTo>
                    <a:cubicBezTo>
                      <a:pt x="30" y="250"/>
                      <a:pt x="38" y="247"/>
                      <a:pt x="47" y="242"/>
                    </a:cubicBezTo>
                    <a:cubicBezTo>
                      <a:pt x="49" y="241"/>
                      <a:pt x="51" y="239"/>
                      <a:pt x="53" y="238"/>
                    </a:cubicBezTo>
                    <a:cubicBezTo>
                      <a:pt x="55" y="237"/>
                      <a:pt x="57" y="237"/>
                      <a:pt x="60" y="237"/>
                    </a:cubicBezTo>
                    <a:cubicBezTo>
                      <a:pt x="62" y="237"/>
                      <a:pt x="65" y="237"/>
                      <a:pt x="67" y="237"/>
                    </a:cubicBezTo>
                    <a:cubicBezTo>
                      <a:pt x="69" y="237"/>
                      <a:pt x="71" y="237"/>
                      <a:pt x="72" y="237"/>
                    </a:cubicBezTo>
                    <a:cubicBezTo>
                      <a:pt x="76" y="237"/>
                      <a:pt x="88" y="236"/>
                      <a:pt x="85" y="231"/>
                    </a:cubicBezTo>
                    <a:cubicBezTo>
                      <a:pt x="85" y="229"/>
                      <a:pt x="84" y="228"/>
                      <a:pt x="84" y="227"/>
                    </a:cubicBezTo>
                    <a:cubicBezTo>
                      <a:pt x="79" y="222"/>
                      <a:pt x="76" y="217"/>
                      <a:pt x="76" y="209"/>
                    </a:cubicBezTo>
                    <a:cubicBezTo>
                      <a:pt x="75" y="192"/>
                      <a:pt x="50" y="209"/>
                      <a:pt x="45" y="210"/>
                    </a:cubicBezTo>
                    <a:cubicBezTo>
                      <a:pt x="37" y="212"/>
                      <a:pt x="14" y="212"/>
                      <a:pt x="14" y="199"/>
                    </a:cubicBezTo>
                    <a:cubicBezTo>
                      <a:pt x="13" y="189"/>
                      <a:pt x="18" y="183"/>
                      <a:pt x="21" y="174"/>
                    </a:cubicBezTo>
                    <a:cubicBezTo>
                      <a:pt x="24" y="161"/>
                      <a:pt x="26" y="149"/>
                      <a:pt x="20" y="137"/>
                    </a:cubicBezTo>
                    <a:cubicBezTo>
                      <a:pt x="13" y="125"/>
                      <a:pt x="14" y="109"/>
                      <a:pt x="31" y="107"/>
                    </a:cubicBezTo>
                    <a:cubicBezTo>
                      <a:pt x="37" y="106"/>
                      <a:pt x="45" y="112"/>
                      <a:pt x="50" y="115"/>
                    </a:cubicBezTo>
                    <a:cubicBezTo>
                      <a:pt x="54" y="117"/>
                      <a:pt x="59" y="119"/>
                      <a:pt x="63" y="119"/>
                    </a:cubicBezTo>
                    <a:cubicBezTo>
                      <a:pt x="64" y="119"/>
                      <a:pt x="64" y="119"/>
                      <a:pt x="64" y="119"/>
                    </a:cubicBezTo>
                    <a:cubicBezTo>
                      <a:pt x="66" y="118"/>
                      <a:pt x="68" y="117"/>
                      <a:pt x="70" y="116"/>
                    </a:cubicBezTo>
                    <a:cubicBezTo>
                      <a:pt x="78" y="113"/>
                      <a:pt x="79" y="108"/>
                      <a:pt x="73" y="102"/>
                    </a:cubicBezTo>
                    <a:cubicBezTo>
                      <a:pt x="66" y="103"/>
                      <a:pt x="62" y="103"/>
                      <a:pt x="57" y="99"/>
                    </a:cubicBezTo>
                    <a:cubicBezTo>
                      <a:pt x="52" y="95"/>
                      <a:pt x="53" y="87"/>
                      <a:pt x="53" y="82"/>
                    </a:cubicBezTo>
                    <a:cubicBezTo>
                      <a:pt x="54" y="79"/>
                      <a:pt x="54" y="75"/>
                      <a:pt x="51" y="72"/>
                    </a:cubicBezTo>
                    <a:cubicBezTo>
                      <a:pt x="50" y="72"/>
                      <a:pt x="48" y="72"/>
                      <a:pt x="46" y="72"/>
                    </a:cubicBezTo>
                    <a:cubicBezTo>
                      <a:pt x="41" y="72"/>
                      <a:pt x="36" y="70"/>
                      <a:pt x="31" y="70"/>
                    </a:cubicBezTo>
                    <a:cubicBezTo>
                      <a:pt x="25" y="70"/>
                      <a:pt x="20" y="70"/>
                      <a:pt x="15" y="67"/>
                    </a:cubicBezTo>
                    <a:cubicBezTo>
                      <a:pt x="12" y="66"/>
                      <a:pt x="10" y="64"/>
                      <a:pt x="7" y="62"/>
                    </a:cubicBezTo>
                    <a:cubicBezTo>
                      <a:pt x="0" y="55"/>
                      <a:pt x="0" y="46"/>
                      <a:pt x="3" y="37"/>
                    </a:cubicBezTo>
                    <a:cubicBezTo>
                      <a:pt x="3" y="32"/>
                      <a:pt x="3" y="27"/>
                      <a:pt x="5" y="23"/>
                    </a:cubicBezTo>
                    <a:cubicBezTo>
                      <a:pt x="5" y="20"/>
                      <a:pt x="6" y="17"/>
                      <a:pt x="7" y="15"/>
                    </a:cubicBezTo>
                    <a:cubicBezTo>
                      <a:pt x="8" y="14"/>
                      <a:pt x="9" y="14"/>
                      <a:pt x="10" y="14"/>
                    </a:cubicBezTo>
                    <a:cubicBezTo>
                      <a:pt x="15" y="0"/>
                      <a:pt x="41" y="6"/>
                      <a:pt x="53" y="11"/>
                    </a:cubicBezTo>
                    <a:cubicBezTo>
                      <a:pt x="67" y="17"/>
                      <a:pt x="81" y="25"/>
                      <a:pt x="88" y="39"/>
                    </a:cubicBezTo>
                    <a:cubicBezTo>
                      <a:pt x="95" y="50"/>
                      <a:pt x="108" y="54"/>
                      <a:pt x="119" y="62"/>
                    </a:cubicBezTo>
                    <a:cubicBezTo>
                      <a:pt x="120" y="61"/>
                      <a:pt x="121" y="61"/>
                      <a:pt x="123" y="61"/>
                    </a:cubicBezTo>
                    <a:cubicBezTo>
                      <a:pt x="132" y="65"/>
                      <a:pt x="137" y="85"/>
                      <a:pt x="138" y="94"/>
                    </a:cubicBezTo>
                    <a:cubicBezTo>
                      <a:pt x="139" y="106"/>
                      <a:pt x="135" y="117"/>
                      <a:pt x="138" y="130"/>
                    </a:cubicBezTo>
                    <a:cubicBezTo>
                      <a:pt x="140" y="142"/>
                      <a:pt x="141" y="155"/>
                      <a:pt x="140" y="167"/>
                    </a:cubicBezTo>
                    <a:cubicBezTo>
                      <a:pt x="139" y="174"/>
                      <a:pt x="133" y="181"/>
                      <a:pt x="129" y="186"/>
                    </a:cubicBezTo>
                    <a:cubicBezTo>
                      <a:pt x="123" y="195"/>
                      <a:pt x="106" y="197"/>
                      <a:pt x="106" y="209"/>
                    </a:cubicBezTo>
                    <a:cubicBezTo>
                      <a:pt x="106" y="218"/>
                      <a:pt x="102" y="223"/>
                      <a:pt x="99" y="232"/>
                    </a:cubicBezTo>
                    <a:cubicBezTo>
                      <a:pt x="97" y="239"/>
                      <a:pt x="84" y="247"/>
                      <a:pt x="83" y="253"/>
                    </a:cubicBezTo>
                    <a:cubicBezTo>
                      <a:pt x="87" y="261"/>
                      <a:pt x="91" y="265"/>
                      <a:pt x="89" y="275"/>
                    </a:cubicBezTo>
                    <a:cubicBezTo>
                      <a:pt x="89" y="278"/>
                      <a:pt x="85" y="282"/>
                      <a:pt x="82" y="285"/>
                    </a:cubicBezTo>
                    <a:cubicBezTo>
                      <a:pt x="73" y="295"/>
                      <a:pt x="80" y="307"/>
                      <a:pt x="81" y="318"/>
                    </a:cubicBezTo>
                    <a:cubicBezTo>
                      <a:pt x="84" y="338"/>
                      <a:pt x="75" y="355"/>
                      <a:pt x="59" y="366"/>
                    </a:cubicBezTo>
                    <a:cubicBezTo>
                      <a:pt x="59" y="367"/>
                      <a:pt x="59" y="368"/>
                      <a:pt x="58" y="369"/>
                    </a:cubicBezTo>
                    <a:cubicBezTo>
                      <a:pt x="56" y="369"/>
                      <a:pt x="55" y="370"/>
                      <a:pt x="53" y="370"/>
                    </a:cubicBezTo>
                    <a:cubicBezTo>
                      <a:pt x="52" y="371"/>
                      <a:pt x="50" y="370"/>
                      <a:pt x="49" y="369"/>
                    </a:cubicBezTo>
                    <a:cubicBezTo>
                      <a:pt x="49" y="368"/>
                      <a:pt x="49" y="368"/>
                      <a:pt x="49" y="368"/>
                    </a:cubicBezTo>
                    <a:cubicBezTo>
                      <a:pt x="47" y="367"/>
                      <a:pt x="47" y="365"/>
                      <a:pt x="47" y="362"/>
                    </a:cubicBezTo>
                    <a:cubicBezTo>
                      <a:pt x="47" y="354"/>
                      <a:pt x="51" y="346"/>
                      <a:pt x="53" y="338"/>
                    </a:cubicBezTo>
                    <a:cubicBezTo>
                      <a:pt x="51" y="328"/>
                      <a:pt x="45" y="322"/>
                      <a:pt x="39" y="315"/>
                    </a:cubicBezTo>
                    <a:cubicBezTo>
                      <a:pt x="37" y="315"/>
                      <a:pt x="36" y="314"/>
                      <a:pt x="35" y="312"/>
                    </a:cubicBezTo>
                    <a:cubicBezTo>
                      <a:pt x="34" y="304"/>
                      <a:pt x="27" y="304"/>
                      <a:pt x="22" y="300"/>
                    </a:cubicBezTo>
                    <a:cubicBezTo>
                      <a:pt x="18" y="297"/>
                      <a:pt x="18" y="289"/>
                      <a:pt x="16" y="286"/>
                    </a:cubicBezTo>
                    <a:cubicBezTo>
                      <a:pt x="10" y="279"/>
                      <a:pt x="18" y="270"/>
                      <a:pt x="23" y="265"/>
                    </a:cubicBezTo>
                  </a:path>
                </a:pathLst>
              </a:cu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455" name="Freeform 2853"/>
              <p:cNvSpPr/>
              <p:nvPr userDrawn="1"/>
            </p:nvSpPr>
            <p:spPr bwMode="auto">
              <a:xfrm>
                <a:off x="6152517" y="2606484"/>
                <a:ext cx="264284" cy="460268"/>
              </a:xfrm>
              <a:custGeom>
                <a:avLst/>
                <a:gdLst>
                  <a:gd name="T0" fmla="*/ 1 w 186"/>
                  <a:gd name="T1" fmla="*/ 124 h 324"/>
                  <a:gd name="T2" fmla="*/ 5 w 186"/>
                  <a:gd name="T3" fmla="*/ 85 h 324"/>
                  <a:gd name="T4" fmla="*/ 21 w 186"/>
                  <a:gd name="T5" fmla="*/ 52 h 324"/>
                  <a:gd name="T6" fmla="*/ 47 w 186"/>
                  <a:gd name="T7" fmla="*/ 29 h 324"/>
                  <a:gd name="T8" fmla="*/ 75 w 186"/>
                  <a:gd name="T9" fmla="*/ 4 h 324"/>
                  <a:gd name="T10" fmla="*/ 78 w 186"/>
                  <a:gd name="T11" fmla="*/ 2 h 324"/>
                  <a:gd name="T12" fmla="*/ 83 w 186"/>
                  <a:gd name="T13" fmla="*/ 3 h 324"/>
                  <a:gd name="T14" fmla="*/ 113 w 186"/>
                  <a:gd name="T15" fmla="*/ 32 h 324"/>
                  <a:gd name="T16" fmla="*/ 130 w 186"/>
                  <a:gd name="T17" fmla="*/ 46 h 324"/>
                  <a:gd name="T18" fmla="*/ 135 w 186"/>
                  <a:gd name="T19" fmla="*/ 77 h 324"/>
                  <a:gd name="T20" fmla="*/ 143 w 186"/>
                  <a:gd name="T21" fmla="*/ 103 h 324"/>
                  <a:gd name="T22" fmla="*/ 119 w 186"/>
                  <a:gd name="T23" fmla="*/ 117 h 324"/>
                  <a:gd name="T24" fmla="*/ 112 w 186"/>
                  <a:gd name="T25" fmla="*/ 101 h 324"/>
                  <a:gd name="T26" fmla="*/ 106 w 186"/>
                  <a:gd name="T27" fmla="*/ 101 h 324"/>
                  <a:gd name="T28" fmla="*/ 106 w 186"/>
                  <a:gd name="T29" fmla="*/ 102 h 324"/>
                  <a:gd name="T30" fmla="*/ 141 w 186"/>
                  <a:gd name="T31" fmla="*/ 135 h 324"/>
                  <a:gd name="T32" fmla="*/ 152 w 186"/>
                  <a:gd name="T33" fmla="*/ 126 h 324"/>
                  <a:gd name="T34" fmla="*/ 161 w 186"/>
                  <a:gd name="T35" fmla="*/ 130 h 324"/>
                  <a:gd name="T36" fmla="*/ 151 w 186"/>
                  <a:gd name="T37" fmla="*/ 164 h 324"/>
                  <a:gd name="T38" fmla="*/ 149 w 186"/>
                  <a:gd name="T39" fmla="*/ 164 h 324"/>
                  <a:gd name="T40" fmla="*/ 153 w 186"/>
                  <a:gd name="T41" fmla="*/ 174 h 324"/>
                  <a:gd name="T42" fmla="*/ 160 w 186"/>
                  <a:gd name="T43" fmla="*/ 175 h 324"/>
                  <a:gd name="T44" fmla="*/ 163 w 186"/>
                  <a:gd name="T45" fmla="*/ 187 h 324"/>
                  <a:gd name="T46" fmla="*/ 146 w 186"/>
                  <a:gd name="T47" fmla="*/ 198 h 324"/>
                  <a:gd name="T48" fmla="*/ 131 w 186"/>
                  <a:gd name="T49" fmla="*/ 187 h 324"/>
                  <a:gd name="T50" fmla="*/ 130 w 186"/>
                  <a:gd name="T51" fmla="*/ 186 h 324"/>
                  <a:gd name="T52" fmla="*/ 123 w 186"/>
                  <a:gd name="T53" fmla="*/ 191 h 324"/>
                  <a:gd name="T54" fmla="*/ 117 w 186"/>
                  <a:gd name="T55" fmla="*/ 198 h 324"/>
                  <a:gd name="T56" fmla="*/ 110 w 186"/>
                  <a:gd name="T57" fmla="*/ 183 h 324"/>
                  <a:gd name="T58" fmla="*/ 109 w 186"/>
                  <a:gd name="T59" fmla="*/ 184 h 324"/>
                  <a:gd name="T60" fmla="*/ 103 w 186"/>
                  <a:gd name="T61" fmla="*/ 186 h 324"/>
                  <a:gd name="T62" fmla="*/ 89 w 186"/>
                  <a:gd name="T63" fmla="*/ 176 h 324"/>
                  <a:gd name="T64" fmla="*/ 85 w 186"/>
                  <a:gd name="T65" fmla="*/ 178 h 324"/>
                  <a:gd name="T66" fmla="*/ 85 w 186"/>
                  <a:gd name="T67" fmla="*/ 178 h 324"/>
                  <a:gd name="T68" fmla="*/ 90 w 186"/>
                  <a:gd name="T69" fmla="*/ 199 h 324"/>
                  <a:gd name="T70" fmla="*/ 105 w 186"/>
                  <a:gd name="T71" fmla="*/ 208 h 324"/>
                  <a:gd name="T72" fmla="*/ 140 w 186"/>
                  <a:gd name="T73" fmla="*/ 207 h 324"/>
                  <a:gd name="T74" fmla="*/ 170 w 186"/>
                  <a:gd name="T75" fmla="*/ 203 h 324"/>
                  <a:gd name="T76" fmla="*/ 173 w 186"/>
                  <a:gd name="T77" fmla="*/ 249 h 324"/>
                  <a:gd name="T78" fmla="*/ 152 w 186"/>
                  <a:gd name="T79" fmla="*/ 271 h 324"/>
                  <a:gd name="T80" fmla="*/ 156 w 186"/>
                  <a:gd name="T81" fmla="*/ 288 h 324"/>
                  <a:gd name="T82" fmla="*/ 142 w 186"/>
                  <a:gd name="T83" fmla="*/ 322 h 324"/>
                  <a:gd name="T84" fmla="*/ 124 w 186"/>
                  <a:gd name="T85" fmla="*/ 304 h 324"/>
                  <a:gd name="T86" fmla="*/ 111 w 186"/>
                  <a:gd name="T87" fmla="*/ 249 h 324"/>
                  <a:gd name="T88" fmla="*/ 107 w 186"/>
                  <a:gd name="T89" fmla="*/ 255 h 324"/>
                  <a:gd name="T90" fmla="*/ 88 w 186"/>
                  <a:gd name="T91" fmla="*/ 256 h 324"/>
                  <a:gd name="T92" fmla="*/ 82 w 186"/>
                  <a:gd name="T93" fmla="*/ 242 h 324"/>
                  <a:gd name="T94" fmla="*/ 80 w 186"/>
                  <a:gd name="T95" fmla="*/ 233 h 324"/>
                  <a:gd name="T96" fmla="*/ 64 w 186"/>
                  <a:gd name="T97" fmla="*/ 243 h 324"/>
                  <a:gd name="T98" fmla="*/ 58 w 186"/>
                  <a:gd name="T99" fmla="*/ 242 h 324"/>
                  <a:gd name="T100" fmla="*/ 57 w 186"/>
                  <a:gd name="T101" fmla="*/ 240 h 324"/>
                  <a:gd name="T102" fmla="*/ 1 w 186"/>
                  <a:gd name="T103" fmla="*/ 12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24">
                    <a:moveTo>
                      <a:pt x="1" y="124"/>
                    </a:moveTo>
                    <a:cubicBezTo>
                      <a:pt x="1" y="111"/>
                      <a:pt x="1" y="97"/>
                      <a:pt x="5" y="85"/>
                    </a:cubicBezTo>
                    <a:cubicBezTo>
                      <a:pt x="9" y="74"/>
                      <a:pt x="16" y="63"/>
                      <a:pt x="21" y="52"/>
                    </a:cubicBezTo>
                    <a:cubicBezTo>
                      <a:pt x="26" y="42"/>
                      <a:pt x="39" y="38"/>
                      <a:pt x="47" y="29"/>
                    </a:cubicBezTo>
                    <a:cubicBezTo>
                      <a:pt x="54" y="19"/>
                      <a:pt x="65" y="12"/>
                      <a:pt x="75" y="4"/>
                    </a:cubicBezTo>
                    <a:cubicBezTo>
                      <a:pt x="76" y="3"/>
                      <a:pt x="76" y="3"/>
                      <a:pt x="78" y="2"/>
                    </a:cubicBezTo>
                    <a:cubicBezTo>
                      <a:pt x="79" y="1"/>
                      <a:pt x="82" y="0"/>
                      <a:pt x="83" y="3"/>
                    </a:cubicBezTo>
                    <a:cubicBezTo>
                      <a:pt x="91" y="14"/>
                      <a:pt x="101" y="25"/>
                      <a:pt x="113" y="32"/>
                    </a:cubicBezTo>
                    <a:cubicBezTo>
                      <a:pt x="119" y="35"/>
                      <a:pt x="128" y="40"/>
                      <a:pt x="130" y="46"/>
                    </a:cubicBezTo>
                    <a:cubicBezTo>
                      <a:pt x="133" y="56"/>
                      <a:pt x="130" y="67"/>
                      <a:pt x="135" y="77"/>
                    </a:cubicBezTo>
                    <a:cubicBezTo>
                      <a:pt x="139" y="85"/>
                      <a:pt x="144" y="94"/>
                      <a:pt x="143" y="103"/>
                    </a:cubicBezTo>
                    <a:cubicBezTo>
                      <a:pt x="142" y="117"/>
                      <a:pt x="132" y="124"/>
                      <a:pt x="119" y="117"/>
                    </a:cubicBezTo>
                    <a:cubicBezTo>
                      <a:pt x="114" y="114"/>
                      <a:pt x="113" y="106"/>
                      <a:pt x="112" y="101"/>
                    </a:cubicBezTo>
                    <a:cubicBezTo>
                      <a:pt x="109" y="86"/>
                      <a:pt x="107" y="93"/>
                      <a:pt x="106" y="101"/>
                    </a:cubicBezTo>
                    <a:cubicBezTo>
                      <a:pt x="106" y="101"/>
                      <a:pt x="106" y="101"/>
                      <a:pt x="106" y="102"/>
                    </a:cubicBezTo>
                    <a:cubicBezTo>
                      <a:pt x="105" y="117"/>
                      <a:pt x="117" y="151"/>
                      <a:pt x="141" y="135"/>
                    </a:cubicBezTo>
                    <a:cubicBezTo>
                      <a:pt x="145" y="132"/>
                      <a:pt x="148" y="128"/>
                      <a:pt x="152" y="126"/>
                    </a:cubicBezTo>
                    <a:cubicBezTo>
                      <a:pt x="155" y="125"/>
                      <a:pt x="160" y="127"/>
                      <a:pt x="161" y="130"/>
                    </a:cubicBezTo>
                    <a:cubicBezTo>
                      <a:pt x="164" y="143"/>
                      <a:pt x="167" y="162"/>
                      <a:pt x="151" y="164"/>
                    </a:cubicBezTo>
                    <a:cubicBezTo>
                      <a:pt x="150" y="164"/>
                      <a:pt x="149" y="164"/>
                      <a:pt x="149" y="164"/>
                    </a:cubicBezTo>
                    <a:cubicBezTo>
                      <a:pt x="142" y="160"/>
                      <a:pt x="144" y="164"/>
                      <a:pt x="153" y="174"/>
                    </a:cubicBezTo>
                    <a:cubicBezTo>
                      <a:pt x="155" y="174"/>
                      <a:pt x="158" y="174"/>
                      <a:pt x="160" y="175"/>
                    </a:cubicBezTo>
                    <a:cubicBezTo>
                      <a:pt x="163" y="178"/>
                      <a:pt x="167" y="182"/>
                      <a:pt x="163" y="187"/>
                    </a:cubicBezTo>
                    <a:cubicBezTo>
                      <a:pt x="159" y="192"/>
                      <a:pt x="151" y="196"/>
                      <a:pt x="146" y="198"/>
                    </a:cubicBezTo>
                    <a:cubicBezTo>
                      <a:pt x="141" y="201"/>
                      <a:pt x="134" y="191"/>
                      <a:pt x="131" y="187"/>
                    </a:cubicBezTo>
                    <a:cubicBezTo>
                      <a:pt x="131" y="187"/>
                      <a:pt x="130" y="187"/>
                      <a:pt x="130" y="186"/>
                    </a:cubicBezTo>
                    <a:cubicBezTo>
                      <a:pt x="125" y="182"/>
                      <a:pt x="124" y="186"/>
                      <a:pt x="123" y="191"/>
                    </a:cubicBezTo>
                    <a:cubicBezTo>
                      <a:pt x="122" y="195"/>
                      <a:pt x="121" y="198"/>
                      <a:pt x="117" y="198"/>
                    </a:cubicBezTo>
                    <a:cubicBezTo>
                      <a:pt x="109" y="196"/>
                      <a:pt x="110" y="189"/>
                      <a:pt x="110" y="183"/>
                    </a:cubicBezTo>
                    <a:cubicBezTo>
                      <a:pt x="109" y="183"/>
                      <a:pt x="109" y="184"/>
                      <a:pt x="109" y="184"/>
                    </a:cubicBezTo>
                    <a:cubicBezTo>
                      <a:pt x="107" y="185"/>
                      <a:pt x="104" y="185"/>
                      <a:pt x="103" y="186"/>
                    </a:cubicBezTo>
                    <a:cubicBezTo>
                      <a:pt x="98" y="188"/>
                      <a:pt x="93" y="179"/>
                      <a:pt x="89" y="176"/>
                    </a:cubicBezTo>
                    <a:cubicBezTo>
                      <a:pt x="88" y="177"/>
                      <a:pt x="87" y="178"/>
                      <a:pt x="85" y="178"/>
                    </a:cubicBezTo>
                    <a:cubicBezTo>
                      <a:pt x="85" y="178"/>
                      <a:pt x="85" y="178"/>
                      <a:pt x="85" y="178"/>
                    </a:cubicBezTo>
                    <a:cubicBezTo>
                      <a:pt x="82" y="185"/>
                      <a:pt x="84" y="192"/>
                      <a:pt x="90" y="199"/>
                    </a:cubicBezTo>
                    <a:cubicBezTo>
                      <a:pt x="95" y="202"/>
                      <a:pt x="100" y="205"/>
                      <a:pt x="105" y="208"/>
                    </a:cubicBezTo>
                    <a:cubicBezTo>
                      <a:pt x="116" y="213"/>
                      <a:pt x="129" y="211"/>
                      <a:pt x="140" y="207"/>
                    </a:cubicBezTo>
                    <a:cubicBezTo>
                      <a:pt x="152" y="203"/>
                      <a:pt x="158" y="198"/>
                      <a:pt x="170" y="203"/>
                    </a:cubicBezTo>
                    <a:cubicBezTo>
                      <a:pt x="186" y="211"/>
                      <a:pt x="185" y="243"/>
                      <a:pt x="173" y="249"/>
                    </a:cubicBezTo>
                    <a:cubicBezTo>
                      <a:pt x="161" y="256"/>
                      <a:pt x="146" y="255"/>
                      <a:pt x="152" y="271"/>
                    </a:cubicBezTo>
                    <a:cubicBezTo>
                      <a:pt x="154" y="276"/>
                      <a:pt x="158" y="283"/>
                      <a:pt x="156" y="288"/>
                    </a:cubicBezTo>
                    <a:cubicBezTo>
                      <a:pt x="155" y="293"/>
                      <a:pt x="150" y="324"/>
                      <a:pt x="142" y="322"/>
                    </a:cubicBezTo>
                    <a:cubicBezTo>
                      <a:pt x="132" y="320"/>
                      <a:pt x="128" y="313"/>
                      <a:pt x="124" y="304"/>
                    </a:cubicBezTo>
                    <a:cubicBezTo>
                      <a:pt x="119" y="293"/>
                      <a:pt x="115" y="261"/>
                      <a:pt x="111" y="249"/>
                    </a:cubicBezTo>
                    <a:cubicBezTo>
                      <a:pt x="110" y="251"/>
                      <a:pt x="109" y="254"/>
                      <a:pt x="107" y="255"/>
                    </a:cubicBezTo>
                    <a:cubicBezTo>
                      <a:pt x="101" y="259"/>
                      <a:pt x="94" y="259"/>
                      <a:pt x="88" y="256"/>
                    </a:cubicBezTo>
                    <a:cubicBezTo>
                      <a:pt x="83" y="253"/>
                      <a:pt x="81" y="248"/>
                      <a:pt x="82" y="242"/>
                    </a:cubicBezTo>
                    <a:cubicBezTo>
                      <a:pt x="83" y="238"/>
                      <a:pt x="87" y="232"/>
                      <a:pt x="80" y="233"/>
                    </a:cubicBezTo>
                    <a:cubicBezTo>
                      <a:pt x="73" y="234"/>
                      <a:pt x="68" y="237"/>
                      <a:pt x="64" y="243"/>
                    </a:cubicBezTo>
                    <a:cubicBezTo>
                      <a:pt x="63" y="244"/>
                      <a:pt x="60" y="244"/>
                      <a:pt x="58" y="242"/>
                    </a:cubicBezTo>
                    <a:cubicBezTo>
                      <a:pt x="58" y="242"/>
                      <a:pt x="57" y="241"/>
                      <a:pt x="57" y="240"/>
                    </a:cubicBezTo>
                    <a:cubicBezTo>
                      <a:pt x="15" y="225"/>
                      <a:pt x="0" y="163"/>
                      <a:pt x="1" y="124"/>
                    </a:cubicBezTo>
                  </a:path>
                </a:pathLst>
              </a:cu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456" name="Freeform 2854"/>
              <p:cNvSpPr>
                <a:spLocks noEditPoints="1"/>
              </p:cNvSpPr>
              <p:nvPr userDrawn="1"/>
            </p:nvSpPr>
            <p:spPr bwMode="auto">
              <a:xfrm>
                <a:off x="6136195" y="2887603"/>
                <a:ext cx="384568" cy="302579"/>
              </a:xfrm>
              <a:custGeom>
                <a:avLst/>
                <a:gdLst>
                  <a:gd name="T0" fmla="*/ 177 w 206"/>
                  <a:gd name="T1" fmla="*/ 162 h 162"/>
                  <a:gd name="T2" fmla="*/ 177 w 206"/>
                  <a:gd name="T3" fmla="*/ 162 h 162"/>
                  <a:gd name="T4" fmla="*/ 177 w 206"/>
                  <a:gd name="T5" fmla="*/ 162 h 162"/>
                  <a:gd name="T6" fmla="*/ 177 w 206"/>
                  <a:gd name="T7" fmla="*/ 162 h 162"/>
                  <a:gd name="T8" fmla="*/ 198 w 206"/>
                  <a:gd name="T9" fmla="*/ 161 h 162"/>
                  <a:gd name="T10" fmla="*/ 197 w 206"/>
                  <a:gd name="T11" fmla="*/ 161 h 162"/>
                  <a:gd name="T12" fmla="*/ 198 w 206"/>
                  <a:gd name="T13" fmla="*/ 161 h 162"/>
                  <a:gd name="T14" fmla="*/ 199 w 206"/>
                  <a:gd name="T15" fmla="*/ 161 h 162"/>
                  <a:gd name="T16" fmla="*/ 199 w 206"/>
                  <a:gd name="T17" fmla="*/ 161 h 162"/>
                  <a:gd name="T18" fmla="*/ 199 w 206"/>
                  <a:gd name="T19" fmla="*/ 161 h 162"/>
                  <a:gd name="T20" fmla="*/ 200 w 206"/>
                  <a:gd name="T21" fmla="*/ 161 h 162"/>
                  <a:gd name="T22" fmla="*/ 199 w 206"/>
                  <a:gd name="T23" fmla="*/ 161 h 162"/>
                  <a:gd name="T24" fmla="*/ 200 w 206"/>
                  <a:gd name="T25" fmla="*/ 161 h 162"/>
                  <a:gd name="T26" fmla="*/ 200 w 206"/>
                  <a:gd name="T27" fmla="*/ 161 h 162"/>
                  <a:gd name="T28" fmla="*/ 200 w 206"/>
                  <a:gd name="T29" fmla="*/ 161 h 162"/>
                  <a:gd name="T30" fmla="*/ 200 w 206"/>
                  <a:gd name="T31" fmla="*/ 161 h 162"/>
                  <a:gd name="T32" fmla="*/ 201 w 206"/>
                  <a:gd name="T33" fmla="*/ 161 h 162"/>
                  <a:gd name="T34" fmla="*/ 201 w 206"/>
                  <a:gd name="T35" fmla="*/ 161 h 162"/>
                  <a:gd name="T36" fmla="*/ 201 w 206"/>
                  <a:gd name="T37" fmla="*/ 161 h 162"/>
                  <a:gd name="T38" fmla="*/ 202 w 206"/>
                  <a:gd name="T39" fmla="*/ 161 h 162"/>
                  <a:gd name="T40" fmla="*/ 202 w 206"/>
                  <a:gd name="T41" fmla="*/ 161 h 162"/>
                  <a:gd name="T42" fmla="*/ 202 w 206"/>
                  <a:gd name="T43" fmla="*/ 161 h 162"/>
                  <a:gd name="T44" fmla="*/ 203 w 206"/>
                  <a:gd name="T45" fmla="*/ 160 h 162"/>
                  <a:gd name="T46" fmla="*/ 202 w 206"/>
                  <a:gd name="T47" fmla="*/ 160 h 162"/>
                  <a:gd name="T48" fmla="*/ 203 w 206"/>
                  <a:gd name="T49" fmla="*/ 160 h 162"/>
                  <a:gd name="T50" fmla="*/ 203 w 206"/>
                  <a:gd name="T51" fmla="*/ 160 h 162"/>
                  <a:gd name="T52" fmla="*/ 203 w 206"/>
                  <a:gd name="T53" fmla="*/ 160 h 162"/>
                  <a:gd name="T54" fmla="*/ 203 w 206"/>
                  <a:gd name="T55" fmla="*/ 160 h 162"/>
                  <a:gd name="T56" fmla="*/ 204 w 206"/>
                  <a:gd name="T57" fmla="*/ 160 h 162"/>
                  <a:gd name="T58" fmla="*/ 204 w 206"/>
                  <a:gd name="T59" fmla="*/ 160 h 162"/>
                  <a:gd name="T60" fmla="*/ 204 w 206"/>
                  <a:gd name="T61" fmla="*/ 160 h 162"/>
                  <a:gd name="T62" fmla="*/ 205 w 206"/>
                  <a:gd name="T63" fmla="*/ 160 h 162"/>
                  <a:gd name="T64" fmla="*/ 205 w 206"/>
                  <a:gd name="T65" fmla="*/ 160 h 162"/>
                  <a:gd name="T66" fmla="*/ 205 w 206"/>
                  <a:gd name="T67" fmla="*/ 160 h 162"/>
                  <a:gd name="T68" fmla="*/ 206 w 206"/>
                  <a:gd name="T69" fmla="*/ 160 h 162"/>
                  <a:gd name="T70" fmla="*/ 206 w 206"/>
                  <a:gd name="T71" fmla="*/ 160 h 162"/>
                  <a:gd name="T72" fmla="*/ 206 w 206"/>
                  <a:gd name="T73" fmla="*/ 160 h 162"/>
                  <a:gd name="T74" fmla="*/ 1 w 206"/>
                  <a:gd name="T75" fmla="*/ 6 h 162"/>
                  <a:gd name="T76" fmla="*/ 177 w 206"/>
                  <a:gd name="T77" fmla="*/ 162 h 162"/>
                  <a:gd name="T78" fmla="*/ 1 w 206"/>
                  <a:gd name="T79" fmla="*/ 6 h 162"/>
                  <a:gd name="T80" fmla="*/ 1 w 206"/>
                  <a:gd name="T81" fmla="*/ 3 h 162"/>
                  <a:gd name="T82" fmla="*/ 1 w 206"/>
                  <a:gd name="T83" fmla="*/ 4 h 162"/>
                  <a:gd name="T84" fmla="*/ 1 w 206"/>
                  <a:gd name="T85" fmla="*/ 3 h 162"/>
                  <a:gd name="T86" fmla="*/ 0 w 206"/>
                  <a:gd name="T87" fmla="*/ 3 h 162"/>
                  <a:gd name="T88" fmla="*/ 0 w 206"/>
                  <a:gd name="T89" fmla="*/ 3 h 162"/>
                  <a:gd name="T90" fmla="*/ 0 w 206"/>
                  <a:gd name="T91" fmla="*/ 3 h 162"/>
                  <a:gd name="T92" fmla="*/ 0 w 206"/>
                  <a:gd name="T93" fmla="*/ 2 h 162"/>
                  <a:gd name="T94" fmla="*/ 0 w 206"/>
                  <a:gd name="T95" fmla="*/ 2 h 162"/>
                  <a:gd name="T96" fmla="*/ 0 w 206"/>
                  <a:gd name="T97" fmla="*/ 2 h 162"/>
                  <a:gd name="T98" fmla="*/ 0 w 206"/>
                  <a:gd name="T99" fmla="*/ 1 h 162"/>
                  <a:gd name="T100" fmla="*/ 0 w 206"/>
                  <a:gd name="T101" fmla="*/ 1 h 162"/>
                  <a:gd name="T102" fmla="*/ 0 w 206"/>
                  <a:gd name="T103" fmla="*/ 1 h 162"/>
                  <a:gd name="T104" fmla="*/ 0 w 206"/>
                  <a:gd name="T105" fmla="*/ 0 h 162"/>
                  <a:gd name="T106" fmla="*/ 0 w 206"/>
                  <a:gd name="T107" fmla="*/ 1 h 162"/>
                  <a:gd name="T108" fmla="*/ 0 w 206"/>
                  <a:gd name="T109" fmla="*/ 0 h 162"/>
                  <a:gd name="T110" fmla="*/ 0 w 206"/>
                  <a:gd name="T111" fmla="*/ 0 h 162"/>
                  <a:gd name="T112" fmla="*/ 0 w 206"/>
                  <a:gd name="T113" fmla="*/ 0 h 162"/>
                  <a:gd name="T114" fmla="*/ 0 w 206"/>
                  <a:gd name="T1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6" h="162">
                    <a:moveTo>
                      <a:pt x="177" y="162"/>
                    </a:moveTo>
                    <a:cubicBezTo>
                      <a:pt x="177" y="162"/>
                      <a:pt x="177" y="162"/>
                      <a:pt x="177" y="162"/>
                    </a:cubicBezTo>
                    <a:cubicBezTo>
                      <a:pt x="177" y="162"/>
                      <a:pt x="177" y="162"/>
                      <a:pt x="177" y="162"/>
                    </a:cubicBezTo>
                    <a:cubicBezTo>
                      <a:pt x="177" y="162"/>
                      <a:pt x="177" y="162"/>
                      <a:pt x="177" y="162"/>
                    </a:cubicBezTo>
                    <a:moveTo>
                      <a:pt x="198" y="161"/>
                    </a:moveTo>
                    <a:cubicBezTo>
                      <a:pt x="198" y="161"/>
                      <a:pt x="197" y="161"/>
                      <a:pt x="197" y="161"/>
                    </a:cubicBezTo>
                    <a:cubicBezTo>
                      <a:pt x="197" y="161"/>
                      <a:pt x="198" y="161"/>
                      <a:pt x="198" y="161"/>
                    </a:cubicBezTo>
                    <a:moveTo>
                      <a:pt x="199" y="161"/>
                    </a:moveTo>
                    <a:cubicBezTo>
                      <a:pt x="199" y="161"/>
                      <a:pt x="199" y="161"/>
                      <a:pt x="199" y="161"/>
                    </a:cubicBezTo>
                    <a:cubicBezTo>
                      <a:pt x="199" y="161"/>
                      <a:pt x="199" y="161"/>
                      <a:pt x="199" y="161"/>
                    </a:cubicBezTo>
                    <a:moveTo>
                      <a:pt x="200" y="161"/>
                    </a:moveTo>
                    <a:cubicBezTo>
                      <a:pt x="199" y="161"/>
                      <a:pt x="199" y="161"/>
                      <a:pt x="199" y="161"/>
                    </a:cubicBezTo>
                    <a:cubicBezTo>
                      <a:pt x="199" y="161"/>
                      <a:pt x="199" y="161"/>
                      <a:pt x="200" y="161"/>
                    </a:cubicBezTo>
                    <a:moveTo>
                      <a:pt x="200" y="161"/>
                    </a:moveTo>
                    <a:cubicBezTo>
                      <a:pt x="200" y="161"/>
                      <a:pt x="200" y="161"/>
                      <a:pt x="200" y="161"/>
                    </a:cubicBezTo>
                    <a:cubicBezTo>
                      <a:pt x="200" y="161"/>
                      <a:pt x="200" y="161"/>
                      <a:pt x="200" y="161"/>
                    </a:cubicBezTo>
                    <a:moveTo>
                      <a:pt x="201" y="161"/>
                    </a:moveTo>
                    <a:cubicBezTo>
                      <a:pt x="201" y="161"/>
                      <a:pt x="201" y="161"/>
                      <a:pt x="201" y="161"/>
                    </a:cubicBezTo>
                    <a:cubicBezTo>
                      <a:pt x="201" y="161"/>
                      <a:pt x="201" y="161"/>
                      <a:pt x="201" y="161"/>
                    </a:cubicBezTo>
                    <a:moveTo>
                      <a:pt x="202" y="161"/>
                    </a:moveTo>
                    <a:cubicBezTo>
                      <a:pt x="202" y="161"/>
                      <a:pt x="202" y="161"/>
                      <a:pt x="202" y="161"/>
                    </a:cubicBezTo>
                    <a:cubicBezTo>
                      <a:pt x="202" y="161"/>
                      <a:pt x="202" y="161"/>
                      <a:pt x="202" y="161"/>
                    </a:cubicBezTo>
                    <a:moveTo>
                      <a:pt x="203" y="160"/>
                    </a:moveTo>
                    <a:cubicBezTo>
                      <a:pt x="203" y="160"/>
                      <a:pt x="203" y="160"/>
                      <a:pt x="202" y="160"/>
                    </a:cubicBezTo>
                    <a:cubicBezTo>
                      <a:pt x="203" y="160"/>
                      <a:pt x="203" y="160"/>
                      <a:pt x="203" y="160"/>
                    </a:cubicBezTo>
                    <a:moveTo>
                      <a:pt x="203" y="160"/>
                    </a:moveTo>
                    <a:cubicBezTo>
                      <a:pt x="203" y="160"/>
                      <a:pt x="203" y="160"/>
                      <a:pt x="203" y="160"/>
                    </a:cubicBezTo>
                    <a:cubicBezTo>
                      <a:pt x="203" y="160"/>
                      <a:pt x="203" y="160"/>
                      <a:pt x="203" y="160"/>
                    </a:cubicBezTo>
                    <a:moveTo>
                      <a:pt x="204" y="160"/>
                    </a:move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4" y="160"/>
                      <a:pt x="204" y="160"/>
                    </a:cubicBezTo>
                    <a:moveTo>
                      <a:pt x="205" y="160"/>
                    </a:moveTo>
                    <a:cubicBezTo>
                      <a:pt x="205" y="160"/>
                      <a:pt x="205" y="160"/>
                      <a:pt x="205" y="160"/>
                    </a:cubicBezTo>
                    <a:cubicBezTo>
                      <a:pt x="205" y="160"/>
                      <a:pt x="205" y="160"/>
                      <a:pt x="205" y="160"/>
                    </a:cubicBezTo>
                    <a:moveTo>
                      <a:pt x="206" y="160"/>
                    </a:moveTo>
                    <a:cubicBezTo>
                      <a:pt x="206" y="160"/>
                      <a:pt x="206" y="160"/>
                      <a:pt x="206" y="160"/>
                    </a:cubicBezTo>
                    <a:cubicBezTo>
                      <a:pt x="206" y="160"/>
                      <a:pt x="206" y="160"/>
                      <a:pt x="206" y="160"/>
                    </a:cubicBezTo>
                    <a:moveTo>
                      <a:pt x="1" y="6"/>
                    </a:moveTo>
                    <a:cubicBezTo>
                      <a:pt x="12" y="96"/>
                      <a:pt x="89" y="162"/>
                      <a:pt x="177" y="162"/>
                    </a:cubicBezTo>
                    <a:cubicBezTo>
                      <a:pt x="89" y="162"/>
                      <a:pt x="12" y="96"/>
                      <a:pt x="1" y="6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1A9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1" name="任意多边形: 形状 1210"/>
              <p:cNvSpPr/>
              <p:nvPr userDrawn="1"/>
            </p:nvSpPr>
            <p:spPr bwMode="auto">
              <a:xfrm rot="21236041">
                <a:off x="6134306" y="2599421"/>
                <a:ext cx="653592" cy="590025"/>
              </a:xfrm>
              <a:custGeom>
                <a:avLst/>
                <a:gdLst>
                  <a:gd name="connsiteX0" fmla="*/ 100493 w 531514"/>
                  <a:gd name="connsiteY0" fmla="*/ 0 h 479820"/>
                  <a:gd name="connsiteX1" fmla="*/ 91404 w 531514"/>
                  <a:gd name="connsiteY1" fmla="*/ 48807 h 479820"/>
                  <a:gd name="connsiteX2" fmla="*/ 92500 w 531514"/>
                  <a:gd name="connsiteY2" fmla="*/ 103601 h 479820"/>
                  <a:gd name="connsiteX3" fmla="*/ 391965 w 531514"/>
                  <a:gd name="connsiteY3" fmla="*/ 341570 h 479820"/>
                  <a:gd name="connsiteX4" fmla="*/ 494455 w 531514"/>
                  <a:gd name="connsiteY4" fmla="*/ 308769 h 479820"/>
                  <a:gd name="connsiteX5" fmla="*/ 531514 w 531514"/>
                  <a:gd name="connsiteY5" fmla="*/ 282992 h 479820"/>
                  <a:gd name="connsiteX6" fmla="*/ 530851 w 531514"/>
                  <a:gd name="connsiteY6" fmla="*/ 286475 h 479820"/>
                  <a:gd name="connsiteX7" fmla="*/ 301478 w 531514"/>
                  <a:gd name="connsiteY7" fmla="*/ 478096 h 479820"/>
                  <a:gd name="connsiteX8" fmla="*/ 2013 w 531514"/>
                  <a:gd name="connsiteY8" fmla="*/ 240127 h 479820"/>
                  <a:gd name="connsiteX9" fmla="*/ 94512 w 531514"/>
                  <a:gd name="connsiteY9" fmla="*/ 4168 h 479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1514" h="479820">
                    <a:moveTo>
                      <a:pt x="100493" y="0"/>
                    </a:moveTo>
                    <a:lnTo>
                      <a:pt x="91404" y="48807"/>
                    </a:lnTo>
                    <a:cubicBezTo>
                      <a:pt x="89911" y="66703"/>
                      <a:pt x="90220" y="85033"/>
                      <a:pt x="92500" y="103601"/>
                    </a:cubicBezTo>
                    <a:cubicBezTo>
                      <a:pt x="109221" y="252142"/>
                      <a:pt x="242992" y="358243"/>
                      <a:pt x="391965" y="341570"/>
                    </a:cubicBezTo>
                    <a:cubicBezTo>
                      <a:pt x="429208" y="337402"/>
                      <a:pt x="463791" y="325939"/>
                      <a:pt x="494455" y="308769"/>
                    </a:cubicBezTo>
                    <a:lnTo>
                      <a:pt x="531514" y="282992"/>
                    </a:lnTo>
                    <a:lnTo>
                      <a:pt x="530851" y="286475"/>
                    </a:lnTo>
                    <a:cubicBezTo>
                      <a:pt x="500995" y="387437"/>
                      <a:pt x="413207" y="465591"/>
                      <a:pt x="301478" y="478096"/>
                    </a:cubicBezTo>
                    <a:cubicBezTo>
                      <a:pt x="152505" y="494769"/>
                      <a:pt x="18734" y="388668"/>
                      <a:pt x="2013" y="240127"/>
                    </a:cubicBezTo>
                    <a:cubicBezTo>
                      <a:pt x="-9388" y="147289"/>
                      <a:pt x="28496" y="60371"/>
                      <a:pt x="94512" y="4168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  <a:alpha val="3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1187" name="Oval 3123"/>
              <p:cNvSpPr>
                <a:spLocks noChangeArrowheads="1"/>
              </p:cNvSpPr>
              <p:nvPr userDrawn="1"/>
            </p:nvSpPr>
            <p:spPr bwMode="auto">
              <a:xfrm>
                <a:off x="7805907" y="1108145"/>
                <a:ext cx="513100" cy="514439"/>
              </a:xfrm>
              <a:prstGeom prst="ellipse">
                <a:avLst/>
              </a:pr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88" name="Freeform 3124"/>
              <p:cNvSpPr/>
              <p:nvPr userDrawn="1"/>
            </p:nvSpPr>
            <p:spPr bwMode="auto">
              <a:xfrm>
                <a:off x="8246663" y="1298380"/>
                <a:ext cx="6698" cy="4019"/>
              </a:xfrm>
              <a:custGeom>
                <a:avLst/>
                <a:gdLst>
                  <a:gd name="T0" fmla="*/ 0 w 4"/>
                  <a:gd name="T1" fmla="*/ 0 h 2"/>
                  <a:gd name="T2" fmla="*/ 3 w 4"/>
                  <a:gd name="T3" fmla="*/ 2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0"/>
                      <a:pt x="2" y="1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3" y="1"/>
                      <a:pt x="1" y="1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89" name="Freeform 3125"/>
              <p:cNvSpPr/>
              <p:nvPr userDrawn="1"/>
            </p:nvSpPr>
            <p:spPr bwMode="auto">
              <a:xfrm>
                <a:off x="7954612" y="1228716"/>
                <a:ext cx="218369" cy="89759"/>
              </a:xfrm>
              <a:custGeom>
                <a:avLst/>
                <a:gdLst>
                  <a:gd name="T0" fmla="*/ 16 w 119"/>
                  <a:gd name="T1" fmla="*/ 0 h 49"/>
                  <a:gd name="T2" fmla="*/ 10 w 119"/>
                  <a:gd name="T3" fmla="*/ 0 h 49"/>
                  <a:gd name="T4" fmla="*/ 0 w 119"/>
                  <a:gd name="T5" fmla="*/ 1 h 49"/>
                  <a:gd name="T6" fmla="*/ 119 w 119"/>
                  <a:gd name="T7" fmla="*/ 49 h 49"/>
                  <a:gd name="T8" fmla="*/ 87 w 119"/>
                  <a:gd name="T9" fmla="*/ 29 h 49"/>
                  <a:gd name="T10" fmla="*/ 19 w 119"/>
                  <a:gd name="T11" fmla="*/ 0 h 49"/>
                  <a:gd name="T12" fmla="*/ 16 w 119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9" h="49">
                    <a:moveTo>
                      <a:pt x="16" y="0"/>
                    </a:moveTo>
                    <a:cubicBezTo>
                      <a:pt x="14" y="0"/>
                      <a:pt x="12" y="0"/>
                      <a:pt x="10" y="0"/>
                    </a:cubicBezTo>
                    <a:cubicBezTo>
                      <a:pt x="6" y="0"/>
                      <a:pt x="3" y="0"/>
                      <a:pt x="0" y="1"/>
                    </a:cubicBezTo>
                    <a:cubicBezTo>
                      <a:pt x="39" y="17"/>
                      <a:pt x="79" y="33"/>
                      <a:pt x="119" y="49"/>
                    </a:cubicBezTo>
                    <a:cubicBezTo>
                      <a:pt x="108" y="43"/>
                      <a:pt x="98" y="36"/>
                      <a:pt x="87" y="29"/>
                    </a:cubicBezTo>
                    <a:cubicBezTo>
                      <a:pt x="64" y="20"/>
                      <a:pt x="41" y="10"/>
                      <a:pt x="19" y="0"/>
                    </a:cubicBezTo>
                    <a:cubicBezTo>
                      <a:pt x="18" y="0"/>
                      <a:pt x="17" y="0"/>
                      <a:pt x="16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0" name="Freeform 3126"/>
              <p:cNvSpPr>
                <a:spLocks noEditPoints="1"/>
              </p:cNvSpPr>
              <p:nvPr userDrawn="1"/>
            </p:nvSpPr>
            <p:spPr bwMode="auto">
              <a:xfrm>
                <a:off x="7890307" y="1153694"/>
                <a:ext cx="371093" cy="154064"/>
              </a:xfrm>
              <a:custGeom>
                <a:avLst/>
                <a:gdLst>
                  <a:gd name="T0" fmla="*/ 197 w 202"/>
                  <a:gd name="T1" fmla="*/ 81 h 84"/>
                  <a:gd name="T2" fmla="*/ 202 w 202"/>
                  <a:gd name="T3" fmla="*/ 84 h 84"/>
                  <a:gd name="T4" fmla="*/ 198 w 202"/>
                  <a:gd name="T5" fmla="*/ 81 h 84"/>
                  <a:gd name="T6" fmla="*/ 197 w 202"/>
                  <a:gd name="T7" fmla="*/ 81 h 84"/>
                  <a:gd name="T8" fmla="*/ 54 w 202"/>
                  <a:gd name="T9" fmla="*/ 41 h 84"/>
                  <a:gd name="T10" fmla="*/ 122 w 202"/>
                  <a:gd name="T11" fmla="*/ 70 h 84"/>
                  <a:gd name="T12" fmla="*/ 80 w 202"/>
                  <a:gd name="T13" fmla="*/ 43 h 84"/>
                  <a:gd name="T14" fmla="*/ 54 w 202"/>
                  <a:gd name="T15" fmla="*/ 41 h 84"/>
                  <a:gd name="T16" fmla="*/ 15 w 202"/>
                  <a:gd name="T17" fmla="*/ 0 h 84"/>
                  <a:gd name="T18" fmla="*/ 0 w 202"/>
                  <a:gd name="T19" fmla="*/ 12 h 84"/>
                  <a:gd name="T20" fmla="*/ 31 w 202"/>
                  <a:gd name="T21" fmla="*/ 10 h 84"/>
                  <a:gd name="T22" fmla="*/ 15 w 202"/>
                  <a:gd name="T2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2" h="84">
                    <a:moveTo>
                      <a:pt x="197" y="81"/>
                    </a:moveTo>
                    <a:cubicBezTo>
                      <a:pt x="199" y="82"/>
                      <a:pt x="201" y="83"/>
                      <a:pt x="202" y="84"/>
                    </a:cubicBezTo>
                    <a:cubicBezTo>
                      <a:pt x="201" y="83"/>
                      <a:pt x="199" y="82"/>
                      <a:pt x="198" y="81"/>
                    </a:cubicBezTo>
                    <a:cubicBezTo>
                      <a:pt x="197" y="81"/>
                      <a:pt x="197" y="81"/>
                      <a:pt x="197" y="81"/>
                    </a:cubicBezTo>
                    <a:moveTo>
                      <a:pt x="54" y="41"/>
                    </a:moveTo>
                    <a:cubicBezTo>
                      <a:pt x="76" y="51"/>
                      <a:pt x="99" y="61"/>
                      <a:pt x="122" y="70"/>
                    </a:cubicBezTo>
                    <a:cubicBezTo>
                      <a:pt x="108" y="61"/>
                      <a:pt x="94" y="52"/>
                      <a:pt x="80" y="43"/>
                    </a:cubicBezTo>
                    <a:cubicBezTo>
                      <a:pt x="71" y="42"/>
                      <a:pt x="62" y="41"/>
                      <a:pt x="54" y="41"/>
                    </a:cubicBezTo>
                    <a:moveTo>
                      <a:pt x="15" y="0"/>
                    </a:moveTo>
                    <a:cubicBezTo>
                      <a:pt x="9" y="4"/>
                      <a:pt x="4" y="8"/>
                      <a:pt x="0" y="12"/>
                    </a:cubicBezTo>
                    <a:cubicBezTo>
                      <a:pt x="10" y="11"/>
                      <a:pt x="20" y="11"/>
                      <a:pt x="31" y="10"/>
                    </a:cubicBezTo>
                    <a:cubicBezTo>
                      <a:pt x="25" y="7"/>
                      <a:pt x="20" y="3"/>
                      <a:pt x="15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1" name="Freeform 3127"/>
              <p:cNvSpPr/>
              <p:nvPr userDrawn="1"/>
            </p:nvSpPr>
            <p:spPr bwMode="auto">
              <a:xfrm>
                <a:off x="7935856" y="1122881"/>
                <a:ext cx="132629" cy="52248"/>
              </a:xfrm>
              <a:custGeom>
                <a:avLst/>
                <a:gdLst>
                  <a:gd name="T0" fmla="*/ 25 w 72"/>
                  <a:gd name="T1" fmla="*/ 0 h 29"/>
                  <a:gd name="T2" fmla="*/ 0 w 72"/>
                  <a:gd name="T3" fmla="*/ 11 h 29"/>
                  <a:gd name="T4" fmla="*/ 37 w 72"/>
                  <a:gd name="T5" fmla="*/ 27 h 29"/>
                  <a:gd name="T6" fmla="*/ 49 w 72"/>
                  <a:gd name="T7" fmla="*/ 27 h 29"/>
                  <a:gd name="T8" fmla="*/ 72 w 72"/>
                  <a:gd name="T9" fmla="*/ 29 h 29"/>
                  <a:gd name="T10" fmla="*/ 25 w 72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29">
                    <a:moveTo>
                      <a:pt x="25" y="0"/>
                    </a:moveTo>
                    <a:cubicBezTo>
                      <a:pt x="16" y="3"/>
                      <a:pt x="8" y="6"/>
                      <a:pt x="0" y="11"/>
                    </a:cubicBezTo>
                    <a:cubicBezTo>
                      <a:pt x="12" y="16"/>
                      <a:pt x="24" y="21"/>
                      <a:pt x="37" y="27"/>
                    </a:cubicBezTo>
                    <a:cubicBezTo>
                      <a:pt x="41" y="27"/>
                      <a:pt x="45" y="27"/>
                      <a:pt x="49" y="27"/>
                    </a:cubicBezTo>
                    <a:cubicBezTo>
                      <a:pt x="57" y="27"/>
                      <a:pt x="64" y="28"/>
                      <a:pt x="72" y="29"/>
                    </a:cubicBezTo>
                    <a:cubicBezTo>
                      <a:pt x="57" y="18"/>
                      <a:pt x="41" y="9"/>
                      <a:pt x="25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2" name="Freeform 3128"/>
              <p:cNvSpPr>
                <a:spLocks noEditPoints="1"/>
              </p:cNvSpPr>
              <p:nvPr userDrawn="1"/>
            </p:nvSpPr>
            <p:spPr bwMode="auto">
              <a:xfrm>
                <a:off x="7925139" y="1142976"/>
                <a:ext cx="326883" cy="159423"/>
              </a:xfrm>
              <a:custGeom>
                <a:avLst/>
                <a:gdLst>
                  <a:gd name="T0" fmla="*/ 133 w 178"/>
                  <a:gd name="T1" fmla="*/ 64 h 87"/>
                  <a:gd name="T2" fmla="*/ 178 w 178"/>
                  <a:gd name="T3" fmla="*/ 87 h 87"/>
                  <a:gd name="T4" fmla="*/ 175 w 178"/>
                  <a:gd name="T5" fmla="*/ 85 h 87"/>
                  <a:gd name="T6" fmla="*/ 133 w 178"/>
                  <a:gd name="T7" fmla="*/ 64 h 87"/>
                  <a:gd name="T8" fmla="*/ 6 w 178"/>
                  <a:gd name="T9" fmla="*/ 0 h 87"/>
                  <a:gd name="T10" fmla="*/ 0 w 178"/>
                  <a:gd name="T11" fmla="*/ 3 h 87"/>
                  <a:gd name="T12" fmla="*/ 29 w 178"/>
                  <a:gd name="T13" fmla="*/ 16 h 87"/>
                  <a:gd name="T14" fmla="*/ 36 w 178"/>
                  <a:gd name="T15" fmla="*/ 16 h 87"/>
                  <a:gd name="T16" fmla="*/ 43 w 178"/>
                  <a:gd name="T17" fmla="*/ 16 h 87"/>
                  <a:gd name="T18" fmla="*/ 6 w 178"/>
                  <a:gd name="T1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87">
                    <a:moveTo>
                      <a:pt x="133" y="64"/>
                    </a:moveTo>
                    <a:cubicBezTo>
                      <a:pt x="148" y="72"/>
                      <a:pt x="163" y="79"/>
                      <a:pt x="178" y="87"/>
                    </a:cubicBezTo>
                    <a:cubicBezTo>
                      <a:pt x="177" y="86"/>
                      <a:pt x="176" y="85"/>
                      <a:pt x="175" y="85"/>
                    </a:cubicBezTo>
                    <a:cubicBezTo>
                      <a:pt x="162" y="76"/>
                      <a:pt x="148" y="69"/>
                      <a:pt x="133" y="64"/>
                    </a:cubicBezTo>
                    <a:moveTo>
                      <a:pt x="6" y="0"/>
                    </a:moveTo>
                    <a:cubicBezTo>
                      <a:pt x="4" y="1"/>
                      <a:pt x="2" y="2"/>
                      <a:pt x="0" y="3"/>
                    </a:cubicBezTo>
                    <a:cubicBezTo>
                      <a:pt x="10" y="7"/>
                      <a:pt x="20" y="11"/>
                      <a:pt x="29" y="16"/>
                    </a:cubicBezTo>
                    <a:cubicBezTo>
                      <a:pt x="32" y="16"/>
                      <a:pt x="34" y="16"/>
                      <a:pt x="36" y="16"/>
                    </a:cubicBezTo>
                    <a:cubicBezTo>
                      <a:pt x="38" y="16"/>
                      <a:pt x="41" y="16"/>
                      <a:pt x="43" y="16"/>
                    </a:cubicBezTo>
                    <a:cubicBezTo>
                      <a:pt x="30" y="10"/>
                      <a:pt x="18" y="5"/>
                      <a:pt x="6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3" name="Freeform 3129"/>
              <p:cNvSpPr/>
              <p:nvPr userDrawn="1"/>
            </p:nvSpPr>
            <p:spPr bwMode="auto">
              <a:xfrm>
                <a:off x="8172981" y="1318475"/>
                <a:ext cx="146026" cy="64305"/>
              </a:xfrm>
              <a:custGeom>
                <a:avLst/>
                <a:gdLst>
                  <a:gd name="T0" fmla="*/ 0 w 80"/>
                  <a:gd name="T1" fmla="*/ 0 h 35"/>
                  <a:gd name="T2" fmla="*/ 21 w 80"/>
                  <a:gd name="T3" fmla="*/ 12 h 35"/>
                  <a:gd name="T4" fmla="*/ 47 w 80"/>
                  <a:gd name="T5" fmla="*/ 21 h 35"/>
                  <a:gd name="T6" fmla="*/ 80 w 80"/>
                  <a:gd name="T7" fmla="*/ 35 h 35"/>
                  <a:gd name="T8" fmla="*/ 80 w 80"/>
                  <a:gd name="T9" fmla="*/ 31 h 35"/>
                  <a:gd name="T10" fmla="*/ 0 w 80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5">
                    <a:moveTo>
                      <a:pt x="0" y="0"/>
                    </a:moveTo>
                    <a:cubicBezTo>
                      <a:pt x="7" y="4"/>
                      <a:pt x="14" y="8"/>
                      <a:pt x="21" y="12"/>
                    </a:cubicBezTo>
                    <a:cubicBezTo>
                      <a:pt x="29" y="15"/>
                      <a:pt x="38" y="18"/>
                      <a:pt x="47" y="21"/>
                    </a:cubicBezTo>
                    <a:cubicBezTo>
                      <a:pt x="56" y="24"/>
                      <a:pt x="69" y="29"/>
                      <a:pt x="80" y="35"/>
                    </a:cubicBezTo>
                    <a:cubicBezTo>
                      <a:pt x="80" y="34"/>
                      <a:pt x="80" y="33"/>
                      <a:pt x="80" y="31"/>
                    </a:cubicBezTo>
                    <a:cubicBezTo>
                      <a:pt x="53" y="21"/>
                      <a:pt x="27" y="11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4" name="Freeform 3130"/>
              <p:cNvSpPr/>
              <p:nvPr userDrawn="1"/>
            </p:nvSpPr>
            <p:spPr bwMode="auto">
              <a:xfrm>
                <a:off x="8114034" y="1282304"/>
                <a:ext cx="204972" cy="92438"/>
              </a:xfrm>
              <a:custGeom>
                <a:avLst/>
                <a:gdLst>
                  <a:gd name="T0" fmla="*/ 0 w 112"/>
                  <a:gd name="T1" fmla="*/ 0 h 51"/>
                  <a:gd name="T2" fmla="*/ 32 w 112"/>
                  <a:gd name="T3" fmla="*/ 20 h 51"/>
                  <a:gd name="T4" fmla="*/ 112 w 112"/>
                  <a:gd name="T5" fmla="*/ 51 h 51"/>
                  <a:gd name="T6" fmla="*/ 112 w 112"/>
                  <a:gd name="T7" fmla="*/ 48 h 51"/>
                  <a:gd name="T8" fmla="*/ 110 w 112"/>
                  <a:gd name="T9" fmla="*/ 45 h 51"/>
                  <a:gd name="T10" fmla="*/ 0 w 112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" h="51">
                    <a:moveTo>
                      <a:pt x="0" y="0"/>
                    </a:moveTo>
                    <a:cubicBezTo>
                      <a:pt x="11" y="7"/>
                      <a:pt x="21" y="14"/>
                      <a:pt x="32" y="20"/>
                    </a:cubicBezTo>
                    <a:cubicBezTo>
                      <a:pt x="59" y="31"/>
                      <a:pt x="85" y="41"/>
                      <a:pt x="112" y="51"/>
                    </a:cubicBezTo>
                    <a:cubicBezTo>
                      <a:pt x="112" y="50"/>
                      <a:pt x="112" y="49"/>
                      <a:pt x="112" y="48"/>
                    </a:cubicBezTo>
                    <a:cubicBezTo>
                      <a:pt x="112" y="47"/>
                      <a:pt x="111" y="46"/>
                      <a:pt x="110" y="45"/>
                    </a:cubicBezTo>
                    <a:cubicBezTo>
                      <a:pt x="74" y="29"/>
                      <a:pt x="37" y="15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5" name="Freeform 3131"/>
              <p:cNvSpPr>
                <a:spLocks noEditPoints="1"/>
              </p:cNvSpPr>
              <p:nvPr userDrawn="1"/>
            </p:nvSpPr>
            <p:spPr bwMode="auto">
              <a:xfrm>
                <a:off x="7918440" y="1148335"/>
                <a:ext cx="397887" cy="215689"/>
              </a:xfrm>
              <a:custGeom>
                <a:avLst/>
                <a:gdLst>
                  <a:gd name="T0" fmla="*/ 65 w 217"/>
                  <a:gd name="T1" fmla="*/ 46 h 118"/>
                  <a:gd name="T2" fmla="*/ 107 w 217"/>
                  <a:gd name="T3" fmla="*/ 73 h 118"/>
                  <a:gd name="T4" fmla="*/ 217 w 217"/>
                  <a:gd name="T5" fmla="*/ 118 h 118"/>
                  <a:gd name="T6" fmla="*/ 187 w 217"/>
                  <a:gd name="T7" fmla="*/ 87 h 118"/>
                  <a:gd name="T8" fmla="*/ 182 w 217"/>
                  <a:gd name="T9" fmla="*/ 84 h 118"/>
                  <a:gd name="T10" fmla="*/ 137 w 217"/>
                  <a:gd name="T11" fmla="*/ 61 h 118"/>
                  <a:gd name="T12" fmla="*/ 65 w 217"/>
                  <a:gd name="T13" fmla="*/ 46 h 118"/>
                  <a:gd name="T14" fmla="*/ 4 w 217"/>
                  <a:gd name="T15" fmla="*/ 0 h 118"/>
                  <a:gd name="T16" fmla="*/ 0 w 217"/>
                  <a:gd name="T17" fmla="*/ 3 h 118"/>
                  <a:gd name="T18" fmla="*/ 16 w 217"/>
                  <a:gd name="T19" fmla="*/ 13 h 118"/>
                  <a:gd name="T20" fmla="*/ 33 w 217"/>
                  <a:gd name="T21" fmla="*/ 13 h 118"/>
                  <a:gd name="T22" fmla="*/ 4 w 217"/>
                  <a:gd name="T2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7" h="118">
                    <a:moveTo>
                      <a:pt x="65" y="46"/>
                    </a:moveTo>
                    <a:cubicBezTo>
                      <a:pt x="79" y="55"/>
                      <a:pt x="93" y="64"/>
                      <a:pt x="107" y="73"/>
                    </a:cubicBezTo>
                    <a:cubicBezTo>
                      <a:pt x="144" y="88"/>
                      <a:pt x="181" y="102"/>
                      <a:pt x="217" y="118"/>
                    </a:cubicBezTo>
                    <a:cubicBezTo>
                      <a:pt x="209" y="106"/>
                      <a:pt x="199" y="96"/>
                      <a:pt x="187" y="87"/>
                    </a:cubicBezTo>
                    <a:cubicBezTo>
                      <a:pt x="186" y="86"/>
                      <a:pt x="184" y="85"/>
                      <a:pt x="182" y="84"/>
                    </a:cubicBezTo>
                    <a:cubicBezTo>
                      <a:pt x="167" y="76"/>
                      <a:pt x="152" y="69"/>
                      <a:pt x="137" y="61"/>
                    </a:cubicBezTo>
                    <a:cubicBezTo>
                      <a:pt x="113" y="53"/>
                      <a:pt x="88" y="48"/>
                      <a:pt x="65" y="46"/>
                    </a:cubicBezTo>
                    <a:moveTo>
                      <a:pt x="4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6"/>
                      <a:pt x="10" y="10"/>
                      <a:pt x="16" y="13"/>
                    </a:cubicBezTo>
                    <a:cubicBezTo>
                      <a:pt x="22" y="13"/>
                      <a:pt x="27" y="13"/>
                      <a:pt x="33" y="13"/>
                    </a:cubicBezTo>
                    <a:cubicBezTo>
                      <a:pt x="24" y="8"/>
                      <a:pt x="14" y="4"/>
                      <a:pt x="4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6" name="Freeform 3132"/>
              <p:cNvSpPr/>
              <p:nvPr userDrawn="1"/>
            </p:nvSpPr>
            <p:spPr bwMode="auto">
              <a:xfrm>
                <a:off x="8068485" y="1175129"/>
                <a:ext cx="247842" cy="143346"/>
              </a:xfrm>
              <a:custGeom>
                <a:avLst/>
                <a:gdLst>
                  <a:gd name="T0" fmla="*/ 0 w 135"/>
                  <a:gd name="T1" fmla="*/ 0 h 78"/>
                  <a:gd name="T2" fmla="*/ 59 w 135"/>
                  <a:gd name="T3" fmla="*/ 40 h 78"/>
                  <a:gd name="T4" fmla="*/ 135 w 135"/>
                  <a:gd name="T5" fmla="*/ 78 h 78"/>
                  <a:gd name="T6" fmla="*/ 130 w 135"/>
                  <a:gd name="T7" fmla="*/ 58 h 78"/>
                  <a:gd name="T8" fmla="*/ 0 w 135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78">
                    <a:moveTo>
                      <a:pt x="0" y="0"/>
                    </a:moveTo>
                    <a:cubicBezTo>
                      <a:pt x="20" y="13"/>
                      <a:pt x="40" y="26"/>
                      <a:pt x="59" y="40"/>
                    </a:cubicBezTo>
                    <a:cubicBezTo>
                      <a:pt x="85" y="52"/>
                      <a:pt x="110" y="65"/>
                      <a:pt x="135" y="78"/>
                    </a:cubicBezTo>
                    <a:cubicBezTo>
                      <a:pt x="134" y="71"/>
                      <a:pt x="132" y="65"/>
                      <a:pt x="130" y="58"/>
                    </a:cubicBezTo>
                    <a:cubicBezTo>
                      <a:pt x="98" y="23"/>
                      <a:pt x="49" y="5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7" name="Freeform 3133"/>
              <p:cNvSpPr/>
              <p:nvPr userDrawn="1"/>
            </p:nvSpPr>
            <p:spPr bwMode="auto">
              <a:xfrm>
                <a:off x="7828681" y="1195224"/>
                <a:ext cx="125930" cy="64305"/>
              </a:xfrm>
              <a:custGeom>
                <a:avLst/>
                <a:gdLst>
                  <a:gd name="T0" fmla="*/ 23 w 69"/>
                  <a:gd name="T1" fmla="*/ 0 h 35"/>
                  <a:gd name="T2" fmla="*/ 0 w 69"/>
                  <a:gd name="T3" fmla="*/ 35 h 35"/>
                  <a:gd name="T4" fmla="*/ 69 w 69"/>
                  <a:gd name="T5" fmla="*/ 19 h 35"/>
                  <a:gd name="T6" fmla="*/ 23 w 69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35">
                    <a:moveTo>
                      <a:pt x="23" y="0"/>
                    </a:moveTo>
                    <a:cubicBezTo>
                      <a:pt x="14" y="10"/>
                      <a:pt x="6" y="22"/>
                      <a:pt x="0" y="35"/>
                    </a:cubicBezTo>
                    <a:cubicBezTo>
                      <a:pt x="22" y="27"/>
                      <a:pt x="44" y="21"/>
                      <a:pt x="69" y="19"/>
                    </a:cubicBezTo>
                    <a:cubicBezTo>
                      <a:pt x="54" y="12"/>
                      <a:pt x="38" y="6"/>
                      <a:pt x="23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8" name="Freeform 3134"/>
              <p:cNvSpPr/>
              <p:nvPr userDrawn="1"/>
            </p:nvSpPr>
            <p:spPr bwMode="auto">
              <a:xfrm>
                <a:off x="8177000" y="1248812"/>
                <a:ext cx="140667" cy="85740"/>
              </a:xfrm>
              <a:custGeom>
                <a:avLst/>
                <a:gdLst>
                  <a:gd name="T0" fmla="*/ 0 w 77"/>
                  <a:gd name="T1" fmla="*/ 0 h 47"/>
                  <a:gd name="T2" fmla="*/ 38 w 77"/>
                  <a:gd name="T3" fmla="*/ 27 h 47"/>
                  <a:gd name="T4" fmla="*/ 42 w 77"/>
                  <a:gd name="T5" fmla="*/ 29 h 47"/>
                  <a:gd name="T6" fmla="*/ 77 w 77"/>
                  <a:gd name="T7" fmla="*/ 47 h 47"/>
                  <a:gd name="T8" fmla="*/ 76 w 77"/>
                  <a:gd name="T9" fmla="*/ 38 h 47"/>
                  <a:gd name="T10" fmla="*/ 0 w 77"/>
                  <a:gd name="T11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47">
                    <a:moveTo>
                      <a:pt x="0" y="0"/>
                    </a:moveTo>
                    <a:cubicBezTo>
                      <a:pt x="13" y="9"/>
                      <a:pt x="26" y="18"/>
                      <a:pt x="38" y="27"/>
                    </a:cubicBezTo>
                    <a:cubicBezTo>
                      <a:pt x="39" y="28"/>
                      <a:pt x="41" y="28"/>
                      <a:pt x="42" y="29"/>
                    </a:cubicBezTo>
                    <a:cubicBezTo>
                      <a:pt x="53" y="35"/>
                      <a:pt x="65" y="41"/>
                      <a:pt x="77" y="47"/>
                    </a:cubicBezTo>
                    <a:cubicBezTo>
                      <a:pt x="77" y="44"/>
                      <a:pt x="76" y="41"/>
                      <a:pt x="76" y="38"/>
                    </a:cubicBezTo>
                    <a:cubicBezTo>
                      <a:pt x="51" y="25"/>
                      <a:pt x="26" y="12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99" name="Freeform 3135"/>
              <p:cNvSpPr/>
              <p:nvPr userDrawn="1"/>
            </p:nvSpPr>
            <p:spPr bwMode="auto">
              <a:xfrm>
                <a:off x="7870211" y="1179148"/>
                <a:ext cx="119232" cy="50908"/>
              </a:xfrm>
              <a:custGeom>
                <a:avLst/>
                <a:gdLst>
                  <a:gd name="T0" fmla="*/ 9 w 65"/>
                  <a:gd name="T1" fmla="*/ 0 h 28"/>
                  <a:gd name="T2" fmla="*/ 0 w 65"/>
                  <a:gd name="T3" fmla="*/ 9 h 28"/>
                  <a:gd name="T4" fmla="*/ 46 w 65"/>
                  <a:gd name="T5" fmla="*/ 28 h 28"/>
                  <a:gd name="T6" fmla="*/ 56 w 65"/>
                  <a:gd name="T7" fmla="*/ 27 h 28"/>
                  <a:gd name="T8" fmla="*/ 62 w 65"/>
                  <a:gd name="T9" fmla="*/ 27 h 28"/>
                  <a:gd name="T10" fmla="*/ 65 w 65"/>
                  <a:gd name="T11" fmla="*/ 27 h 28"/>
                  <a:gd name="T12" fmla="*/ 9 w 65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28">
                    <a:moveTo>
                      <a:pt x="9" y="0"/>
                    </a:moveTo>
                    <a:cubicBezTo>
                      <a:pt x="6" y="3"/>
                      <a:pt x="3" y="6"/>
                      <a:pt x="0" y="9"/>
                    </a:cubicBezTo>
                    <a:cubicBezTo>
                      <a:pt x="15" y="15"/>
                      <a:pt x="31" y="21"/>
                      <a:pt x="46" y="28"/>
                    </a:cubicBezTo>
                    <a:cubicBezTo>
                      <a:pt x="49" y="27"/>
                      <a:pt x="52" y="27"/>
                      <a:pt x="56" y="27"/>
                    </a:cubicBezTo>
                    <a:cubicBezTo>
                      <a:pt x="58" y="27"/>
                      <a:pt x="60" y="27"/>
                      <a:pt x="62" y="27"/>
                    </a:cubicBezTo>
                    <a:cubicBezTo>
                      <a:pt x="63" y="27"/>
                      <a:pt x="64" y="27"/>
                      <a:pt x="65" y="27"/>
                    </a:cubicBezTo>
                    <a:cubicBezTo>
                      <a:pt x="46" y="19"/>
                      <a:pt x="27" y="10"/>
                      <a:pt x="9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00" name="Freeform 3136"/>
              <p:cNvSpPr/>
              <p:nvPr userDrawn="1"/>
            </p:nvSpPr>
            <p:spPr bwMode="auto">
              <a:xfrm>
                <a:off x="7886288" y="1171110"/>
                <a:ext cx="151385" cy="61626"/>
              </a:xfrm>
              <a:custGeom>
                <a:avLst/>
                <a:gdLst>
                  <a:gd name="T0" fmla="*/ 33 w 82"/>
                  <a:gd name="T1" fmla="*/ 0 h 33"/>
                  <a:gd name="T2" fmla="*/ 2 w 82"/>
                  <a:gd name="T3" fmla="*/ 2 h 33"/>
                  <a:gd name="T4" fmla="*/ 0 w 82"/>
                  <a:gd name="T5" fmla="*/ 4 h 33"/>
                  <a:gd name="T6" fmla="*/ 56 w 82"/>
                  <a:gd name="T7" fmla="*/ 31 h 33"/>
                  <a:gd name="T8" fmla="*/ 82 w 82"/>
                  <a:gd name="T9" fmla="*/ 33 h 33"/>
                  <a:gd name="T10" fmla="*/ 33 w 82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33">
                    <a:moveTo>
                      <a:pt x="33" y="0"/>
                    </a:moveTo>
                    <a:cubicBezTo>
                      <a:pt x="22" y="1"/>
                      <a:pt x="12" y="1"/>
                      <a:pt x="2" y="2"/>
                    </a:cubicBezTo>
                    <a:cubicBezTo>
                      <a:pt x="1" y="3"/>
                      <a:pt x="0" y="3"/>
                      <a:pt x="0" y="4"/>
                    </a:cubicBezTo>
                    <a:cubicBezTo>
                      <a:pt x="18" y="14"/>
                      <a:pt x="37" y="23"/>
                      <a:pt x="56" y="31"/>
                    </a:cubicBezTo>
                    <a:cubicBezTo>
                      <a:pt x="64" y="31"/>
                      <a:pt x="73" y="32"/>
                      <a:pt x="82" y="33"/>
                    </a:cubicBezTo>
                    <a:cubicBezTo>
                      <a:pt x="66" y="22"/>
                      <a:pt x="49" y="11"/>
                      <a:pt x="33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01" name="Freeform 3137"/>
              <p:cNvSpPr/>
              <p:nvPr userDrawn="1"/>
            </p:nvSpPr>
            <p:spPr bwMode="auto">
              <a:xfrm>
                <a:off x="8253362" y="1302399"/>
                <a:ext cx="65645" cy="45549"/>
              </a:xfrm>
              <a:custGeom>
                <a:avLst/>
                <a:gdLst>
                  <a:gd name="T0" fmla="*/ 0 w 36"/>
                  <a:gd name="T1" fmla="*/ 0 h 25"/>
                  <a:gd name="T2" fmla="*/ 4 w 36"/>
                  <a:gd name="T3" fmla="*/ 3 h 25"/>
                  <a:gd name="T4" fmla="*/ 36 w 36"/>
                  <a:gd name="T5" fmla="*/ 25 h 25"/>
                  <a:gd name="T6" fmla="*/ 35 w 36"/>
                  <a:gd name="T7" fmla="*/ 18 h 25"/>
                  <a:gd name="T8" fmla="*/ 0 w 36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0" y="0"/>
                    </a:moveTo>
                    <a:cubicBezTo>
                      <a:pt x="1" y="1"/>
                      <a:pt x="3" y="2"/>
                      <a:pt x="4" y="3"/>
                    </a:cubicBezTo>
                    <a:cubicBezTo>
                      <a:pt x="15" y="11"/>
                      <a:pt x="25" y="18"/>
                      <a:pt x="36" y="25"/>
                    </a:cubicBezTo>
                    <a:cubicBezTo>
                      <a:pt x="36" y="22"/>
                      <a:pt x="35" y="20"/>
                      <a:pt x="35" y="18"/>
                    </a:cubicBezTo>
                    <a:cubicBezTo>
                      <a:pt x="23" y="12"/>
                      <a:pt x="11" y="6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02" name="Freeform 3138"/>
              <p:cNvSpPr/>
              <p:nvPr userDrawn="1"/>
            </p:nvSpPr>
            <p:spPr bwMode="auto">
              <a:xfrm>
                <a:off x="8004180" y="1171110"/>
                <a:ext cx="172819" cy="77702"/>
              </a:xfrm>
              <a:custGeom>
                <a:avLst/>
                <a:gdLst>
                  <a:gd name="T0" fmla="*/ 0 w 94"/>
                  <a:gd name="T1" fmla="*/ 0 h 42"/>
                  <a:gd name="T2" fmla="*/ 94 w 94"/>
                  <a:gd name="T3" fmla="*/ 42 h 42"/>
                  <a:gd name="T4" fmla="*/ 35 w 94"/>
                  <a:gd name="T5" fmla="*/ 2 h 42"/>
                  <a:gd name="T6" fmla="*/ 12 w 94"/>
                  <a:gd name="T7" fmla="*/ 0 h 42"/>
                  <a:gd name="T8" fmla="*/ 0 w 9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42">
                    <a:moveTo>
                      <a:pt x="0" y="0"/>
                    </a:moveTo>
                    <a:cubicBezTo>
                      <a:pt x="31" y="13"/>
                      <a:pt x="63" y="27"/>
                      <a:pt x="94" y="42"/>
                    </a:cubicBezTo>
                    <a:cubicBezTo>
                      <a:pt x="75" y="28"/>
                      <a:pt x="55" y="15"/>
                      <a:pt x="35" y="2"/>
                    </a:cubicBezTo>
                    <a:cubicBezTo>
                      <a:pt x="27" y="1"/>
                      <a:pt x="20" y="0"/>
                      <a:pt x="12" y="0"/>
                    </a:cubicBezTo>
                    <a:cubicBezTo>
                      <a:pt x="8" y="0"/>
                      <a:pt x="4" y="0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03" name="Freeform 3139"/>
              <p:cNvSpPr/>
              <p:nvPr userDrawn="1"/>
            </p:nvSpPr>
            <p:spPr bwMode="auto">
              <a:xfrm>
                <a:off x="7978726" y="1171110"/>
                <a:ext cx="267937" cy="127270"/>
              </a:xfrm>
              <a:custGeom>
                <a:avLst/>
                <a:gdLst>
                  <a:gd name="T0" fmla="*/ 7 w 146"/>
                  <a:gd name="T1" fmla="*/ 0 h 69"/>
                  <a:gd name="T2" fmla="*/ 0 w 146"/>
                  <a:gd name="T3" fmla="*/ 0 h 69"/>
                  <a:gd name="T4" fmla="*/ 104 w 146"/>
                  <a:gd name="T5" fmla="*/ 48 h 69"/>
                  <a:gd name="T6" fmla="*/ 146 w 146"/>
                  <a:gd name="T7" fmla="*/ 69 h 69"/>
                  <a:gd name="T8" fmla="*/ 108 w 146"/>
                  <a:gd name="T9" fmla="*/ 42 h 69"/>
                  <a:gd name="T10" fmla="*/ 14 w 146"/>
                  <a:gd name="T11" fmla="*/ 0 h 69"/>
                  <a:gd name="T12" fmla="*/ 7 w 146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69">
                    <a:moveTo>
                      <a:pt x="7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35" y="15"/>
                      <a:pt x="70" y="31"/>
                      <a:pt x="104" y="48"/>
                    </a:cubicBezTo>
                    <a:cubicBezTo>
                      <a:pt x="119" y="53"/>
                      <a:pt x="133" y="60"/>
                      <a:pt x="146" y="69"/>
                    </a:cubicBezTo>
                    <a:cubicBezTo>
                      <a:pt x="134" y="60"/>
                      <a:pt x="121" y="51"/>
                      <a:pt x="108" y="42"/>
                    </a:cubicBezTo>
                    <a:cubicBezTo>
                      <a:pt x="77" y="27"/>
                      <a:pt x="45" y="13"/>
                      <a:pt x="14" y="0"/>
                    </a:cubicBezTo>
                    <a:cubicBezTo>
                      <a:pt x="12" y="0"/>
                      <a:pt x="9" y="0"/>
                      <a:pt x="7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04" name="Freeform 3140"/>
              <p:cNvSpPr/>
              <p:nvPr userDrawn="1"/>
            </p:nvSpPr>
            <p:spPr bwMode="auto">
              <a:xfrm>
                <a:off x="8316327" y="1364025"/>
                <a:ext cx="2679" cy="5359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1"/>
                      <a:pt x="2" y="2"/>
                      <a:pt x="2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1" y="0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2" name="Freeform 3141"/>
              <p:cNvSpPr/>
              <p:nvPr userDrawn="1"/>
            </p:nvSpPr>
            <p:spPr bwMode="auto">
              <a:xfrm>
                <a:off x="7947913" y="1171110"/>
                <a:ext cx="221048" cy="88419"/>
              </a:xfrm>
              <a:custGeom>
                <a:avLst/>
                <a:gdLst>
                  <a:gd name="T0" fmla="*/ 17 w 121"/>
                  <a:gd name="T1" fmla="*/ 0 h 48"/>
                  <a:gd name="T2" fmla="*/ 0 w 121"/>
                  <a:gd name="T3" fmla="*/ 0 h 48"/>
                  <a:gd name="T4" fmla="*/ 49 w 121"/>
                  <a:gd name="T5" fmla="*/ 33 h 48"/>
                  <a:gd name="T6" fmla="*/ 121 w 121"/>
                  <a:gd name="T7" fmla="*/ 48 h 48"/>
                  <a:gd name="T8" fmla="*/ 17 w 121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48">
                    <a:moveTo>
                      <a:pt x="17" y="0"/>
                    </a:moveTo>
                    <a:cubicBezTo>
                      <a:pt x="11" y="0"/>
                      <a:pt x="6" y="0"/>
                      <a:pt x="0" y="0"/>
                    </a:cubicBezTo>
                    <a:cubicBezTo>
                      <a:pt x="16" y="11"/>
                      <a:pt x="33" y="22"/>
                      <a:pt x="49" y="33"/>
                    </a:cubicBezTo>
                    <a:cubicBezTo>
                      <a:pt x="72" y="35"/>
                      <a:pt x="97" y="40"/>
                      <a:pt x="121" y="48"/>
                    </a:cubicBezTo>
                    <a:cubicBezTo>
                      <a:pt x="87" y="31"/>
                      <a:pt x="52" y="15"/>
                      <a:pt x="17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3" name="Freeform 3142"/>
              <p:cNvSpPr/>
              <p:nvPr userDrawn="1"/>
            </p:nvSpPr>
            <p:spPr bwMode="auto">
              <a:xfrm>
                <a:off x="8261400" y="1307758"/>
                <a:ext cx="57606" cy="57606"/>
              </a:xfrm>
              <a:custGeom>
                <a:avLst/>
                <a:gdLst>
                  <a:gd name="T0" fmla="*/ 0 w 32"/>
                  <a:gd name="T1" fmla="*/ 0 h 32"/>
                  <a:gd name="T2" fmla="*/ 30 w 32"/>
                  <a:gd name="T3" fmla="*/ 31 h 32"/>
                  <a:gd name="T4" fmla="*/ 32 w 32"/>
                  <a:gd name="T5" fmla="*/ 32 h 32"/>
                  <a:gd name="T6" fmla="*/ 32 w 32"/>
                  <a:gd name="T7" fmla="*/ 32 h 32"/>
                  <a:gd name="T8" fmla="*/ 32 w 32"/>
                  <a:gd name="T9" fmla="*/ 22 h 32"/>
                  <a:gd name="T10" fmla="*/ 0 w 32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12" y="9"/>
                      <a:pt x="22" y="19"/>
                      <a:pt x="30" y="31"/>
                    </a:cubicBezTo>
                    <a:cubicBezTo>
                      <a:pt x="31" y="31"/>
                      <a:pt x="32" y="32"/>
                      <a:pt x="32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28"/>
                      <a:pt x="32" y="25"/>
                      <a:pt x="32" y="22"/>
                    </a:cubicBezTo>
                    <a:cubicBezTo>
                      <a:pt x="21" y="15"/>
                      <a:pt x="11" y="8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5" name="Freeform 3143"/>
              <p:cNvSpPr/>
              <p:nvPr userDrawn="1"/>
            </p:nvSpPr>
            <p:spPr bwMode="auto">
              <a:xfrm>
                <a:off x="7808586" y="1268907"/>
                <a:ext cx="509081" cy="164781"/>
              </a:xfrm>
              <a:custGeom>
                <a:avLst/>
                <a:gdLst>
                  <a:gd name="T0" fmla="*/ 9 w 278"/>
                  <a:gd name="T1" fmla="*/ 0 h 90"/>
                  <a:gd name="T2" fmla="*/ 0 w 278"/>
                  <a:gd name="T3" fmla="*/ 36 h 90"/>
                  <a:gd name="T4" fmla="*/ 139 w 278"/>
                  <a:gd name="T5" fmla="*/ 55 h 90"/>
                  <a:gd name="T6" fmla="*/ 248 w 278"/>
                  <a:gd name="T7" fmla="*/ 80 h 90"/>
                  <a:gd name="T8" fmla="*/ 274 w 278"/>
                  <a:gd name="T9" fmla="*/ 90 h 90"/>
                  <a:gd name="T10" fmla="*/ 278 w 278"/>
                  <a:gd name="T11" fmla="*/ 68 h 90"/>
                  <a:gd name="T12" fmla="*/ 220 w 278"/>
                  <a:gd name="T13" fmla="*/ 39 h 90"/>
                  <a:gd name="T14" fmla="*/ 144 w 278"/>
                  <a:gd name="T15" fmla="*/ 19 h 90"/>
                  <a:gd name="T16" fmla="*/ 9 w 278"/>
                  <a:gd name="T1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90">
                    <a:moveTo>
                      <a:pt x="9" y="0"/>
                    </a:moveTo>
                    <a:cubicBezTo>
                      <a:pt x="5" y="11"/>
                      <a:pt x="1" y="24"/>
                      <a:pt x="0" y="36"/>
                    </a:cubicBezTo>
                    <a:cubicBezTo>
                      <a:pt x="46" y="42"/>
                      <a:pt x="93" y="46"/>
                      <a:pt x="139" y="55"/>
                    </a:cubicBezTo>
                    <a:cubicBezTo>
                      <a:pt x="175" y="62"/>
                      <a:pt x="215" y="66"/>
                      <a:pt x="248" y="80"/>
                    </a:cubicBezTo>
                    <a:cubicBezTo>
                      <a:pt x="255" y="83"/>
                      <a:pt x="265" y="87"/>
                      <a:pt x="274" y="90"/>
                    </a:cubicBezTo>
                    <a:cubicBezTo>
                      <a:pt x="276" y="83"/>
                      <a:pt x="278" y="76"/>
                      <a:pt x="278" y="68"/>
                    </a:cubicBezTo>
                    <a:cubicBezTo>
                      <a:pt x="258" y="60"/>
                      <a:pt x="239" y="50"/>
                      <a:pt x="220" y="39"/>
                    </a:cubicBezTo>
                    <a:cubicBezTo>
                      <a:pt x="195" y="31"/>
                      <a:pt x="170" y="25"/>
                      <a:pt x="144" y="19"/>
                    </a:cubicBezTo>
                    <a:cubicBezTo>
                      <a:pt x="100" y="10"/>
                      <a:pt x="55" y="3"/>
                      <a:pt x="9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6" name="Freeform 3144"/>
              <p:cNvSpPr/>
              <p:nvPr userDrawn="1"/>
            </p:nvSpPr>
            <p:spPr bwMode="auto">
              <a:xfrm>
                <a:off x="8211831" y="1339910"/>
                <a:ext cx="107175" cy="53587"/>
              </a:xfrm>
              <a:custGeom>
                <a:avLst/>
                <a:gdLst>
                  <a:gd name="T0" fmla="*/ 0 w 59"/>
                  <a:gd name="T1" fmla="*/ 0 h 29"/>
                  <a:gd name="T2" fmla="*/ 58 w 59"/>
                  <a:gd name="T3" fmla="*/ 29 h 29"/>
                  <a:gd name="T4" fmla="*/ 59 w 59"/>
                  <a:gd name="T5" fmla="*/ 23 h 29"/>
                  <a:gd name="T6" fmla="*/ 26 w 59"/>
                  <a:gd name="T7" fmla="*/ 9 h 29"/>
                  <a:gd name="T8" fmla="*/ 0 w 5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29">
                    <a:moveTo>
                      <a:pt x="0" y="0"/>
                    </a:moveTo>
                    <a:cubicBezTo>
                      <a:pt x="19" y="11"/>
                      <a:pt x="38" y="21"/>
                      <a:pt x="58" y="29"/>
                    </a:cubicBezTo>
                    <a:cubicBezTo>
                      <a:pt x="59" y="27"/>
                      <a:pt x="59" y="25"/>
                      <a:pt x="59" y="23"/>
                    </a:cubicBezTo>
                    <a:cubicBezTo>
                      <a:pt x="48" y="17"/>
                      <a:pt x="35" y="12"/>
                      <a:pt x="26" y="9"/>
                    </a:cubicBezTo>
                    <a:cubicBezTo>
                      <a:pt x="17" y="6"/>
                      <a:pt x="8" y="3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17" name="Freeform 3145"/>
              <p:cNvSpPr/>
              <p:nvPr userDrawn="1"/>
            </p:nvSpPr>
            <p:spPr bwMode="auto">
              <a:xfrm>
                <a:off x="7805907" y="1347948"/>
                <a:ext cx="491665" cy="182197"/>
              </a:xfrm>
              <a:custGeom>
                <a:avLst/>
                <a:gdLst>
                  <a:gd name="T0" fmla="*/ 0 w 268"/>
                  <a:gd name="T1" fmla="*/ 0 h 100"/>
                  <a:gd name="T2" fmla="*/ 0 w 268"/>
                  <a:gd name="T3" fmla="*/ 10 h 100"/>
                  <a:gd name="T4" fmla="*/ 5 w 268"/>
                  <a:gd name="T5" fmla="*/ 48 h 100"/>
                  <a:gd name="T6" fmla="*/ 116 w 268"/>
                  <a:gd name="T7" fmla="*/ 92 h 100"/>
                  <a:gd name="T8" fmla="*/ 191 w 268"/>
                  <a:gd name="T9" fmla="*/ 100 h 100"/>
                  <a:gd name="T10" fmla="*/ 257 w 268"/>
                  <a:gd name="T11" fmla="*/ 88 h 100"/>
                  <a:gd name="T12" fmla="*/ 268 w 268"/>
                  <a:gd name="T13" fmla="*/ 67 h 100"/>
                  <a:gd name="T14" fmla="*/ 212 w 268"/>
                  <a:gd name="T15" fmla="*/ 77 h 100"/>
                  <a:gd name="T16" fmla="*/ 101 w 268"/>
                  <a:gd name="T17" fmla="*/ 55 h 100"/>
                  <a:gd name="T18" fmla="*/ 0 w 268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8" h="100">
                    <a:moveTo>
                      <a:pt x="0" y="0"/>
                    </a:moveTo>
                    <a:cubicBezTo>
                      <a:pt x="0" y="3"/>
                      <a:pt x="0" y="6"/>
                      <a:pt x="0" y="10"/>
                    </a:cubicBezTo>
                    <a:cubicBezTo>
                      <a:pt x="0" y="23"/>
                      <a:pt x="2" y="36"/>
                      <a:pt x="5" y="48"/>
                    </a:cubicBezTo>
                    <a:cubicBezTo>
                      <a:pt x="40" y="69"/>
                      <a:pt x="78" y="85"/>
                      <a:pt x="116" y="92"/>
                    </a:cubicBezTo>
                    <a:cubicBezTo>
                      <a:pt x="135" y="96"/>
                      <a:pt x="163" y="100"/>
                      <a:pt x="191" y="100"/>
                    </a:cubicBezTo>
                    <a:cubicBezTo>
                      <a:pt x="215" y="100"/>
                      <a:pt x="238" y="97"/>
                      <a:pt x="257" y="88"/>
                    </a:cubicBezTo>
                    <a:cubicBezTo>
                      <a:pt x="261" y="81"/>
                      <a:pt x="265" y="75"/>
                      <a:pt x="268" y="67"/>
                    </a:cubicBezTo>
                    <a:cubicBezTo>
                      <a:pt x="251" y="74"/>
                      <a:pt x="232" y="77"/>
                      <a:pt x="212" y="77"/>
                    </a:cubicBezTo>
                    <a:cubicBezTo>
                      <a:pt x="173" y="77"/>
                      <a:pt x="131" y="66"/>
                      <a:pt x="101" y="55"/>
                    </a:cubicBezTo>
                    <a:cubicBezTo>
                      <a:pt x="64" y="40"/>
                      <a:pt x="32" y="21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20" name="Freeform 3146"/>
              <p:cNvSpPr/>
              <p:nvPr userDrawn="1"/>
            </p:nvSpPr>
            <p:spPr bwMode="auto">
              <a:xfrm>
                <a:off x="7805907" y="1148335"/>
                <a:ext cx="412623" cy="474249"/>
              </a:xfrm>
              <a:custGeom>
                <a:avLst/>
                <a:gdLst>
                  <a:gd name="T0" fmla="*/ 65 w 225"/>
                  <a:gd name="T1" fmla="*/ 0 h 259"/>
                  <a:gd name="T2" fmla="*/ 40 w 225"/>
                  <a:gd name="T3" fmla="*/ 82 h 259"/>
                  <a:gd name="T4" fmla="*/ 192 w 225"/>
                  <a:gd name="T5" fmla="*/ 234 h 259"/>
                  <a:gd name="T6" fmla="*/ 225 w 225"/>
                  <a:gd name="T7" fmla="*/ 230 h 259"/>
                  <a:gd name="T8" fmla="*/ 140 w 225"/>
                  <a:gd name="T9" fmla="*/ 259 h 259"/>
                  <a:gd name="T10" fmla="*/ 0 w 225"/>
                  <a:gd name="T11" fmla="*/ 119 h 259"/>
                  <a:gd name="T12" fmla="*/ 65 w 225"/>
                  <a:gd name="T1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5" h="259">
                    <a:moveTo>
                      <a:pt x="65" y="0"/>
                    </a:moveTo>
                    <a:cubicBezTo>
                      <a:pt x="50" y="24"/>
                      <a:pt x="40" y="52"/>
                      <a:pt x="40" y="82"/>
                    </a:cubicBezTo>
                    <a:cubicBezTo>
                      <a:pt x="40" y="165"/>
                      <a:pt x="109" y="234"/>
                      <a:pt x="192" y="234"/>
                    </a:cubicBezTo>
                    <a:cubicBezTo>
                      <a:pt x="203" y="234"/>
                      <a:pt x="214" y="233"/>
                      <a:pt x="225" y="230"/>
                    </a:cubicBezTo>
                    <a:cubicBezTo>
                      <a:pt x="201" y="248"/>
                      <a:pt x="172" y="259"/>
                      <a:pt x="140" y="259"/>
                    </a:cubicBezTo>
                    <a:cubicBezTo>
                      <a:pt x="63" y="259"/>
                      <a:pt x="0" y="196"/>
                      <a:pt x="0" y="119"/>
                    </a:cubicBezTo>
                    <a:cubicBezTo>
                      <a:pt x="0" y="69"/>
                      <a:pt x="26" y="25"/>
                      <a:pt x="65" y="0"/>
                    </a:cubicBezTo>
                    <a:close/>
                  </a:path>
                </a:pathLst>
              </a:custGeom>
              <a:solidFill>
                <a:srgbClr val="9495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28" name="Freeform 3150"/>
              <p:cNvSpPr>
                <a:spLocks noEditPoints="1"/>
              </p:cNvSpPr>
              <p:nvPr userDrawn="1"/>
            </p:nvSpPr>
            <p:spPr bwMode="auto">
              <a:xfrm>
                <a:off x="5829870" y="2442472"/>
                <a:ext cx="372433" cy="302769"/>
              </a:xfrm>
              <a:custGeom>
                <a:avLst/>
                <a:gdLst>
                  <a:gd name="T0" fmla="*/ 177 w 203"/>
                  <a:gd name="T1" fmla="*/ 165 h 165"/>
                  <a:gd name="T2" fmla="*/ 177 w 203"/>
                  <a:gd name="T3" fmla="*/ 165 h 165"/>
                  <a:gd name="T4" fmla="*/ 177 w 203"/>
                  <a:gd name="T5" fmla="*/ 165 h 165"/>
                  <a:gd name="T6" fmla="*/ 177 w 203"/>
                  <a:gd name="T7" fmla="*/ 165 h 165"/>
                  <a:gd name="T8" fmla="*/ 198 w 203"/>
                  <a:gd name="T9" fmla="*/ 164 h 165"/>
                  <a:gd name="T10" fmla="*/ 197 w 203"/>
                  <a:gd name="T11" fmla="*/ 164 h 165"/>
                  <a:gd name="T12" fmla="*/ 198 w 203"/>
                  <a:gd name="T13" fmla="*/ 164 h 165"/>
                  <a:gd name="T14" fmla="*/ 199 w 203"/>
                  <a:gd name="T15" fmla="*/ 164 h 165"/>
                  <a:gd name="T16" fmla="*/ 199 w 203"/>
                  <a:gd name="T17" fmla="*/ 164 h 165"/>
                  <a:gd name="T18" fmla="*/ 199 w 203"/>
                  <a:gd name="T19" fmla="*/ 164 h 165"/>
                  <a:gd name="T20" fmla="*/ 199 w 203"/>
                  <a:gd name="T21" fmla="*/ 164 h 165"/>
                  <a:gd name="T22" fmla="*/ 199 w 203"/>
                  <a:gd name="T23" fmla="*/ 164 h 165"/>
                  <a:gd name="T24" fmla="*/ 199 w 203"/>
                  <a:gd name="T25" fmla="*/ 164 h 165"/>
                  <a:gd name="T26" fmla="*/ 200 w 203"/>
                  <a:gd name="T27" fmla="*/ 164 h 165"/>
                  <a:gd name="T28" fmla="*/ 200 w 203"/>
                  <a:gd name="T29" fmla="*/ 164 h 165"/>
                  <a:gd name="T30" fmla="*/ 200 w 203"/>
                  <a:gd name="T31" fmla="*/ 164 h 165"/>
                  <a:gd name="T32" fmla="*/ 201 w 203"/>
                  <a:gd name="T33" fmla="*/ 164 h 165"/>
                  <a:gd name="T34" fmla="*/ 201 w 203"/>
                  <a:gd name="T35" fmla="*/ 164 h 165"/>
                  <a:gd name="T36" fmla="*/ 201 w 203"/>
                  <a:gd name="T37" fmla="*/ 164 h 165"/>
                  <a:gd name="T38" fmla="*/ 202 w 203"/>
                  <a:gd name="T39" fmla="*/ 164 h 165"/>
                  <a:gd name="T40" fmla="*/ 202 w 203"/>
                  <a:gd name="T41" fmla="*/ 164 h 165"/>
                  <a:gd name="T42" fmla="*/ 202 w 203"/>
                  <a:gd name="T43" fmla="*/ 164 h 165"/>
                  <a:gd name="T44" fmla="*/ 203 w 203"/>
                  <a:gd name="T45" fmla="*/ 163 h 165"/>
                  <a:gd name="T46" fmla="*/ 203 w 203"/>
                  <a:gd name="T47" fmla="*/ 163 h 165"/>
                  <a:gd name="T48" fmla="*/ 203 w 203"/>
                  <a:gd name="T49" fmla="*/ 163 h 165"/>
                  <a:gd name="T50" fmla="*/ 1 w 203"/>
                  <a:gd name="T51" fmla="*/ 10 h 165"/>
                  <a:gd name="T52" fmla="*/ 177 w 203"/>
                  <a:gd name="T53" fmla="*/ 165 h 165"/>
                  <a:gd name="T54" fmla="*/ 1 w 203"/>
                  <a:gd name="T55" fmla="*/ 10 h 165"/>
                  <a:gd name="T56" fmla="*/ 1 w 203"/>
                  <a:gd name="T57" fmla="*/ 9 h 165"/>
                  <a:gd name="T58" fmla="*/ 1 w 203"/>
                  <a:gd name="T59" fmla="*/ 10 h 165"/>
                  <a:gd name="T60" fmla="*/ 1 w 203"/>
                  <a:gd name="T61" fmla="*/ 9 h 165"/>
                  <a:gd name="T62" fmla="*/ 1 w 203"/>
                  <a:gd name="T63" fmla="*/ 6 h 165"/>
                  <a:gd name="T64" fmla="*/ 1 w 203"/>
                  <a:gd name="T65" fmla="*/ 7 h 165"/>
                  <a:gd name="T66" fmla="*/ 1 w 203"/>
                  <a:gd name="T67" fmla="*/ 6 h 165"/>
                  <a:gd name="T68" fmla="*/ 0 w 203"/>
                  <a:gd name="T69" fmla="*/ 6 h 165"/>
                  <a:gd name="T70" fmla="*/ 0 w 203"/>
                  <a:gd name="T71" fmla="*/ 6 h 165"/>
                  <a:gd name="T72" fmla="*/ 0 w 203"/>
                  <a:gd name="T73" fmla="*/ 6 h 165"/>
                  <a:gd name="T74" fmla="*/ 0 w 203"/>
                  <a:gd name="T75" fmla="*/ 5 h 165"/>
                  <a:gd name="T76" fmla="*/ 0 w 203"/>
                  <a:gd name="T77" fmla="*/ 5 h 165"/>
                  <a:gd name="T78" fmla="*/ 0 w 203"/>
                  <a:gd name="T79" fmla="*/ 5 h 165"/>
                  <a:gd name="T80" fmla="*/ 0 w 203"/>
                  <a:gd name="T81" fmla="*/ 4 h 165"/>
                  <a:gd name="T82" fmla="*/ 0 w 203"/>
                  <a:gd name="T83" fmla="*/ 5 h 165"/>
                  <a:gd name="T84" fmla="*/ 0 w 203"/>
                  <a:gd name="T85" fmla="*/ 4 h 165"/>
                  <a:gd name="T86" fmla="*/ 0 w 203"/>
                  <a:gd name="T87" fmla="*/ 3 h 165"/>
                  <a:gd name="T88" fmla="*/ 0 w 203"/>
                  <a:gd name="T89" fmla="*/ 4 h 165"/>
                  <a:gd name="T90" fmla="*/ 0 w 203"/>
                  <a:gd name="T91" fmla="*/ 3 h 165"/>
                  <a:gd name="T92" fmla="*/ 0 w 203"/>
                  <a:gd name="T93" fmla="*/ 3 h 165"/>
                  <a:gd name="T94" fmla="*/ 0 w 203"/>
                  <a:gd name="T95" fmla="*/ 3 h 165"/>
                  <a:gd name="T96" fmla="*/ 0 w 203"/>
                  <a:gd name="T97" fmla="*/ 3 h 165"/>
                  <a:gd name="T98" fmla="*/ 0 w 203"/>
                  <a:gd name="T99" fmla="*/ 2 h 165"/>
                  <a:gd name="T100" fmla="*/ 0 w 203"/>
                  <a:gd name="T101" fmla="*/ 2 h 165"/>
                  <a:gd name="T102" fmla="*/ 0 w 203"/>
                  <a:gd name="T103" fmla="*/ 2 h 165"/>
                  <a:gd name="T104" fmla="*/ 0 w 203"/>
                  <a:gd name="T105" fmla="*/ 1 h 165"/>
                  <a:gd name="T106" fmla="*/ 0 w 203"/>
                  <a:gd name="T107" fmla="*/ 1 h 165"/>
                  <a:gd name="T108" fmla="*/ 0 w 203"/>
                  <a:gd name="T109" fmla="*/ 1 h 165"/>
                  <a:gd name="T110" fmla="*/ 0 w 203"/>
                  <a:gd name="T111" fmla="*/ 1 h 165"/>
                  <a:gd name="T112" fmla="*/ 0 w 203"/>
                  <a:gd name="T113" fmla="*/ 1 h 165"/>
                  <a:gd name="T114" fmla="*/ 0 w 203"/>
                  <a:gd name="T115" fmla="*/ 1 h 165"/>
                  <a:gd name="T116" fmla="*/ 0 w 203"/>
                  <a:gd name="T117" fmla="*/ 0 h 165"/>
                  <a:gd name="T118" fmla="*/ 0 w 203"/>
                  <a:gd name="T119" fmla="*/ 0 h 165"/>
                  <a:gd name="T120" fmla="*/ 0 w 203"/>
                  <a:gd name="T12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3" h="165">
                    <a:moveTo>
                      <a:pt x="177" y="165"/>
                    </a:move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77" y="165"/>
                      <a:pt x="177" y="165"/>
                      <a:pt x="177" y="165"/>
                    </a:cubicBezTo>
                    <a:moveTo>
                      <a:pt x="198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7" y="164"/>
                      <a:pt x="198" y="164"/>
                      <a:pt x="198" y="164"/>
                    </a:cubicBezTo>
                    <a:moveTo>
                      <a:pt x="199" y="164"/>
                    </a:moveTo>
                    <a:cubicBezTo>
                      <a:pt x="199" y="164"/>
                      <a:pt x="199" y="164"/>
                      <a:pt x="199" y="164"/>
                    </a:cubicBezTo>
                    <a:cubicBezTo>
                      <a:pt x="199" y="164"/>
                      <a:pt x="199" y="164"/>
                      <a:pt x="199" y="164"/>
                    </a:cubicBezTo>
                    <a:moveTo>
                      <a:pt x="199" y="164"/>
                    </a:moveTo>
                    <a:cubicBezTo>
                      <a:pt x="199" y="164"/>
                      <a:pt x="199" y="164"/>
                      <a:pt x="199" y="164"/>
                    </a:cubicBezTo>
                    <a:cubicBezTo>
                      <a:pt x="199" y="164"/>
                      <a:pt x="199" y="164"/>
                      <a:pt x="199" y="164"/>
                    </a:cubicBezTo>
                    <a:moveTo>
                      <a:pt x="200" y="164"/>
                    </a:moveTo>
                    <a:cubicBezTo>
                      <a:pt x="200" y="164"/>
                      <a:pt x="200" y="164"/>
                      <a:pt x="200" y="164"/>
                    </a:cubicBezTo>
                    <a:cubicBezTo>
                      <a:pt x="200" y="164"/>
                      <a:pt x="200" y="164"/>
                      <a:pt x="200" y="164"/>
                    </a:cubicBezTo>
                    <a:moveTo>
                      <a:pt x="201" y="164"/>
                    </a:moveTo>
                    <a:cubicBezTo>
                      <a:pt x="201" y="164"/>
                      <a:pt x="201" y="164"/>
                      <a:pt x="201" y="164"/>
                    </a:cubicBezTo>
                    <a:cubicBezTo>
                      <a:pt x="201" y="164"/>
                      <a:pt x="201" y="164"/>
                      <a:pt x="201" y="164"/>
                    </a:cubicBezTo>
                    <a:moveTo>
                      <a:pt x="202" y="164"/>
                    </a:move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02" y="164"/>
                      <a:pt x="202" y="164"/>
                      <a:pt x="202" y="164"/>
                    </a:cubicBezTo>
                    <a:moveTo>
                      <a:pt x="203" y="163"/>
                    </a:moveTo>
                    <a:cubicBezTo>
                      <a:pt x="203" y="163"/>
                      <a:pt x="203" y="163"/>
                      <a:pt x="203" y="163"/>
                    </a:cubicBezTo>
                    <a:cubicBezTo>
                      <a:pt x="203" y="163"/>
                      <a:pt x="203" y="163"/>
                      <a:pt x="203" y="163"/>
                    </a:cubicBezTo>
                    <a:moveTo>
                      <a:pt x="1" y="10"/>
                    </a:moveTo>
                    <a:cubicBezTo>
                      <a:pt x="13" y="100"/>
                      <a:pt x="89" y="165"/>
                      <a:pt x="177" y="165"/>
                    </a:cubicBezTo>
                    <a:cubicBezTo>
                      <a:pt x="89" y="165"/>
                      <a:pt x="13" y="100"/>
                      <a:pt x="1" y="10"/>
                    </a:cubicBezTo>
                    <a:moveTo>
                      <a:pt x="1" y="9"/>
                    </a:moveTo>
                    <a:cubicBezTo>
                      <a:pt x="1" y="9"/>
                      <a:pt x="1" y="10"/>
                      <a:pt x="1" y="10"/>
                    </a:cubicBezTo>
                    <a:cubicBezTo>
                      <a:pt x="1" y="10"/>
                      <a:pt x="1" y="9"/>
                      <a:pt x="1" y="9"/>
                    </a:cubicBezTo>
                    <a:moveTo>
                      <a:pt x="1" y="6"/>
                    </a:moveTo>
                    <a:cubicBezTo>
                      <a:pt x="1" y="6"/>
                      <a:pt x="1" y="6"/>
                      <a:pt x="1" y="7"/>
                    </a:cubicBezTo>
                    <a:cubicBezTo>
                      <a:pt x="1" y="6"/>
                      <a:pt x="1" y="6"/>
                      <a:pt x="1" y="6"/>
                    </a:cubicBezTo>
                    <a:moveTo>
                      <a:pt x="0" y="6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3"/>
                    </a:move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1A9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0" name="Freeform 3182"/>
              <p:cNvSpPr/>
              <p:nvPr userDrawn="1"/>
            </p:nvSpPr>
            <p:spPr bwMode="auto">
              <a:xfrm>
                <a:off x="5185481" y="439641"/>
                <a:ext cx="995387" cy="995387"/>
              </a:xfrm>
              <a:custGeom>
                <a:avLst/>
                <a:gdLst>
                  <a:gd name="T0" fmla="*/ 23 w 543"/>
                  <a:gd name="T1" fmla="*/ 315 h 544"/>
                  <a:gd name="T2" fmla="*/ 315 w 543"/>
                  <a:gd name="T3" fmla="*/ 520 h 544"/>
                  <a:gd name="T4" fmla="*/ 519 w 543"/>
                  <a:gd name="T5" fmla="*/ 228 h 544"/>
                  <a:gd name="T6" fmla="*/ 228 w 543"/>
                  <a:gd name="T7" fmla="*/ 23 h 544"/>
                  <a:gd name="T8" fmla="*/ 23 w 543"/>
                  <a:gd name="T9" fmla="*/ 315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544">
                    <a:moveTo>
                      <a:pt x="23" y="315"/>
                    </a:moveTo>
                    <a:cubicBezTo>
                      <a:pt x="47" y="452"/>
                      <a:pt x="178" y="544"/>
                      <a:pt x="315" y="520"/>
                    </a:cubicBezTo>
                    <a:cubicBezTo>
                      <a:pt x="452" y="496"/>
                      <a:pt x="543" y="365"/>
                      <a:pt x="519" y="228"/>
                    </a:cubicBezTo>
                    <a:cubicBezTo>
                      <a:pt x="496" y="91"/>
                      <a:pt x="365" y="0"/>
                      <a:pt x="228" y="23"/>
                    </a:cubicBezTo>
                    <a:cubicBezTo>
                      <a:pt x="91" y="47"/>
                      <a:pt x="0" y="178"/>
                      <a:pt x="23" y="315"/>
                    </a:cubicBezTo>
                  </a:path>
                </a:pathLst>
              </a:custGeom>
              <a:solidFill>
                <a:srgbClr val="E7EB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1" name="Freeform 3183"/>
              <p:cNvSpPr>
                <a:spLocks noEditPoints="1"/>
              </p:cNvSpPr>
              <p:nvPr userDrawn="1"/>
            </p:nvSpPr>
            <p:spPr bwMode="auto">
              <a:xfrm>
                <a:off x="5231030" y="724994"/>
                <a:ext cx="912326" cy="278655"/>
              </a:xfrm>
              <a:custGeom>
                <a:avLst/>
                <a:gdLst>
                  <a:gd name="T0" fmla="*/ 6 w 498"/>
                  <a:gd name="T1" fmla="*/ 40 h 152"/>
                  <a:gd name="T2" fmla="*/ 0 w 498"/>
                  <a:gd name="T3" fmla="*/ 65 h 152"/>
                  <a:gd name="T4" fmla="*/ 0 w 498"/>
                  <a:gd name="T5" fmla="*/ 65 h 152"/>
                  <a:gd name="T6" fmla="*/ 6 w 498"/>
                  <a:gd name="T7" fmla="*/ 40 h 152"/>
                  <a:gd name="T8" fmla="*/ 6 w 498"/>
                  <a:gd name="T9" fmla="*/ 40 h 152"/>
                  <a:gd name="T10" fmla="*/ 142 w 498"/>
                  <a:gd name="T11" fmla="*/ 54 h 152"/>
                  <a:gd name="T12" fmla="*/ 125 w 498"/>
                  <a:gd name="T13" fmla="*/ 46 h 152"/>
                  <a:gd name="T14" fmla="*/ 126 w 498"/>
                  <a:gd name="T15" fmla="*/ 42 h 152"/>
                  <a:gd name="T16" fmla="*/ 127 w 498"/>
                  <a:gd name="T17" fmla="*/ 43 h 152"/>
                  <a:gd name="T18" fmla="*/ 142 w 498"/>
                  <a:gd name="T19" fmla="*/ 50 h 152"/>
                  <a:gd name="T20" fmla="*/ 143 w 498"/>
                  <a:gd name="T21" fmla="*/ 50 h 152"/>
                  <a:gd name="T22" fmla="*/ 143 w 498"/>
                  <a:gd name="T23" fmla="*/ 50 h 152"/>
                  <a:gd name="T24" fmla="*/ 143 w 498"/>
                  <a:gd name="T25" fmla="*/ 54 h 152"/>
                  <a:gd name="T26" fmla="*/ 142 w 498"/>
                  <a:gd name="T27" fmla="*/ 54 h 152"/>
                  <a:gd name="T28" fmla="*/ 23 w 498"/>
                  <a:gd name="T29" fmla="*/ 0 h 152"/>
                  <a:gd name="T30" fmla="*/ 13 w 498"/>
                  <a:gd name="T31" fmla="*/ 22 h 152"/>
                  <a:gd name="T32" fmla="*/ 144 w 498"/>
                  <a:gd name="T33" fmla="*/ 63 h 152"/>
                  <a:gd name="T34" fmla="*/ 39 w 498"/>
                  <a:gd name="T35" fmla="*/ 48 h 152"/>
                  <a:gd name="T36" fmla="*/ 10 w 498"/>
                  <a:gd name="T37" fmla="*/ 41 h 152"/>
                  <a:gd name="T38" fmla="*/ 12 w 498"/>
                  <a:gd name="T39" fmla="*/ 55 h 152"/>
                  <a:gd name="T40" fmla="*/ 13 w 498"/>
                  <a:gd name="T41" fmla="*/ 59 h 152"/>
                  <a:gd name="T42" fmla="*/ 15 w 498"/>
                  <a:gd name="T43" fmla="*/ 69 h 152"/>
                  <a:gd name="T44" fmla="*/ 150 w 498"/>
                  <a:gd name="T45" fmla="*/ 88 h 152"/>
                  <a:gd name="T46" fmla="*/ 289 w 498"/>
                  <a:gd name="T47" fmla="*/ 103 h 152"/>
                  <a:gd name="T48" fmla="*/ 386 w 498"/>
                  <a:gd name="T49" fmla="*/ 122 h 152"/>
                  <a:gd name="T50" fmla="*/ 496 w 498"/>
                  <a:gd name="T51" fmla="*/ 152 h 152"/>
                  <a:gd name="T52" fmla="*/ 498 w 498"/>
                  <a:gd name="T53" fmla="*/ 126 h 152"/>
                  <a:gd name="T54" fmla="*/ 196 w 498"/>
                  <a:gd name="T55" fmla="*/ 56 h 152"/>
                  <a:gd name="T56" fmla="*/ 73 w 498"/>
                  <a:gd name="T57" fmla="*/ 14 h 152"/>
                  <a:gd name="T58" fmla="*/ 49 w 498"/>
                  <a:gd name="T59" fmla="*/ 7 h 152"/>
                  <a:gd name="T60" fmla="*/ 23 w 498"/>
                  <a:gd name="T61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98" h="152">
                    <a:moveTo>
                      <a:pt x="6" y="40"/>
                    </a:moveTo>
                    <a:cubicBezTo>
                      <a:pt x="4" y="48"/>
                      <a:pt x="2" y="57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2" y="57"/>
                      <a:pt x="4" y="48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moveTo>
                      <a:pt x="142" y="54"/>
                    </a:moveTo>
                    <a:cubicBezTo>
                      <a:pt x="135" y="54"/>
                      <a:pt x="130" y="49"/>
                      <a:pt x="125" y="46"/>
                    </a:cubicBezTo>
                    <a:cubicBezTo>
                      <a:pt x="123" y="45"/>
                      <a:pt x="124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31" y="46"/>
                      <a:pt x="136" y="50"/>
                      <a:pt x="142" y="50"/>
                    </a:cubicBezTo>
                    <a:cubicBezTo>
                      <a:pt x="142" y="50"/>
                      <a:pt x="143" y="50"/>
                      <a:pt x="143" y="50"/>
                    </a:cubicBezTo>
                    <a:cubicBezTo>
                      <a:pt x="143" y="50"/>
                      <a:pt x="143" y="50"/>
                      <a:pt x="143" y="50"/>
                    </a:cubicBezTo>
                    <a:cubicBezTo>
                      <a:pt x="145" y="50"/>
                      <a:pt x="146" y="54"/>
                      <a:pt x="143" y="54"/>
                    </a:cubicBezTo>
                    <a:cubicBezTo>
                      <a:pt x="143" y="54"/>
                      <a:pt x="142" y="54"/>
                      <a:pt x="142" y="54"/>
                    </a:cubicBezTo>
                    <a:moveTo>
                      <a:pt x="23" y="0"/>
                    </a:moveTo>
                    <a:cubicBezTo>
                      <a:pt x="19" y="7"/>
                      <a:pt x="16" y="14"/>
                      <a:pt x="13" y="22"/>
                    </a:cubicBezTo>
                    <a:cubicBezTo>
                      <a:pt x="57" y="32"/>
                      <a:pt x="100" y="48"/>
                      <a:pt x="144" y="63"/>
                    </a:cubicBezTo>
                    <a:cubicBezTo>
                      <a:pt x="109" y="60"/>
                      <a:pt x="74" y="55"/>
                      <a:pt x="39" y="48"/>
                    </a:cubicBezTo>
                    <a:cubicBezTo>
                      <a:pt x="30" y="46"/>
                      <a:pt x="20" y="43"/>
                      <a:pt x="10" y="41"/>
                    </a:cubicBezTo>
                    <a:cubicBezTo>
                      <a:pt x="11" y="45"/>
                      <a:pt x="11" y="50"/>
                      <a:pt x="12" y="55"/>
                    </a:cubicBezTo>
                    <a:cubicBezTo>
                      <a:pt x="12" y="56"/>
                      <a:pt x="13" y="58"/>
                      <a:pt x="13" y="59"/>
                    </a:cubicBezTo>
                    <a:cubicBezTo>
                      <a:pt x="14" y="62"/>
                      <a:pt x="14" y="66"/>
                      <a:pt x="15" y="69"/>
                    </a:cubicBezTo>
                    <a:cubicBezTo>
                      <a:pt x="60" y="80"/>
                      <a:pt x="109" y="84"/>
                      <a:pt x="150" y="88"/>
                    </a:cubicBezTo>
                    <a:cubicBezTo>
                      <a:pt x="196" y="92"/>
                      <a:pt x="243" y="96"/>
                      <a:pt x="289" y="103"/>
                    </a:cubicBezTo>
                    <a:cubicBezTo>
                      <a:pt x="322" y="110"/>
                      <a:pt x="354" y="115"/>
                      <a:pt x="386" y="122"/>
                    </a:cubicBezTo>
                    <a:cubicBezTo>
                      <a:pt x="423" y="131"/>
                      <a:pt x="459" y="141"/>
                      <a:pt x="496" y="152"/>
                    </a:cubicBezTo>
                    <a:cubicBezTo>
                      <a:pt x="497" y="144"/>
                      <a:pt x="498" y="135"/>
                      <a:pt x="498" y="126"/>
                    </a:cubicBezTo>
                    <a:cubicBezTo>
                      <a:pt x="403" y="86"/>
                      <a:pt x="294" y="86"/>
                      <a:pt x="196" y="56"/>
                    </a:cubicBezTo>
                    <a:cubicBezTo>
                      <a:pt x="156" y="43"/>
                      <a:pt x="115" y="28"/>
                      <a:pt x="73" y="14"/>
                    </a:cubicBezTo>
                    <a:cubicBezTo>
                      <a:pt x="65" y="12"/>
                      <a:pt x="57" y="9"/>
                      <a:pt x="49" y="7"/>
                    </a:cubicBezTo>
                    <a:cubicBezTo>
                      <a:pt x="40" y="4"/>
                      <a:pt x="32" y="2"/>
                      <a:pt x="23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2" name="Freeform 3184"/>
              <p:cNvSpPr/>
              <p:nvPr userDrawn="1"/>
            </p:nvSpPr>
            <p:spPr bwMode="auto">
              <a:xfrm>
                <a:off x="5456097" y="801356"/>
                <a:ext cx="42870" cy="22775"/>
              </a:xfrm>
              <a:custGeom>
                <a:avLst/>
                <a:gdLst>
                  <a:gd name="T0" fmla="*/ 3 w 23"/>
                  <a:gd name="T1" fmla="*/ 0 h 12"/>
                  <a:gd name="T2" fmla="*/ 2 w 23"/>
                  <a:gd name="T3" fmla="*/ 4 h 12"/>
                  <a:gd name="T4" fmla="*/ 19 w 23"/>
                  <a:gd name="T5" fmla="*/ 12 h 12"/>
                  <a:gd name="T6" fmla="*/ 20 w 23"/>
                  <a:gd name="T7" fmla="*/ 12 h 12"/>
                  <a:gd name="T8" fmla="*/ 20 w 23"/>
                  <a:gd name="T9" fmla="*/ 8 h 12"/>
                  <a:gd name="T10" fmla="*/ 20 w 23"/>
                  <a:gd name="T11" fmla="*/ 8 h 12"/>
                  <a:gd name="T12" fmla="*/ 19 w 23"/>
                  <a:gd name="T13" fmla="*/ 8 h 12"/>
                  <a:gd name="T14" fmla="*/ 4 w 23"/>
                  <a:gd name="T15" fmla="*/ 1 h 12"/>
                  <a:gd name="T16" fmla="*/ 3 w 23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12">
                    <a:moveTo>
                      <a:pt x="3" y="0"/>
                    </a:moveTo>
                    <a:cubicBezTo>
                      <a:pt x="1" y="0"/>
                      <a:pt x="0" y="3"/>
                      <a:pt x="2" y="4"/>
                    </a:cubicBezTo>
                    <a:cubicBezTo>
                      <a:pt x="7" y="7"/>
                      <a:pt x="12" y="12"/>
                      <a:pt x="19" y="12"/>
                    </a:cubicBezTo>
                    <a:cubicBezTo>
                      <a:pt x="19" y="12"/>
                      <a:pt x="20" y="12"/>
                      <a:pt x="20" y="12"/>
                    </a:cubicBezTo>
                    <a:cubicBezTo>
                      <a:pt x="23" y="12"/>
                      <a:pt x="22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19" y="8"/>
                      <a:pt x="19" y="8"/>
                    </a:cubicBezTo>
                    <a:cubicBezTo>
                      <a:pt x="13" y="8"/>
                      <a:pt x="8" y="4"/>
                      <a:pt x="4" y="1"/>
                    </a:cubicBezTo>
                    <a:cubicBezTo>
                      <a:pt x="4" y="1"/>
                      <a:pt x="3" y="0"/>
                      <a:pt x="3" y="0"/>
                    </a:cubicBezTo>
                  </a:path>
                </a:pathLst>
              </a:custGeom>
              <a:solidFill>
                <a:srgbClr val="DDA1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3" name="Freeform 3185"/>
              <p:cNvSpPr/>
              <p:nvPr userDrawn="1"/>
            </p:nvSpPr>
            <p:spPr bwMode="auto">
              <a:xfrm>
                <a:off x="5370357" y="532080"/>
                <a:ext cx="756923" cy="278655"/>
              </a:xfrm>
              <a:custGeom>
                <a:avLst/>
                <a:gdLst>
                  <a:gd name="T0" fmla="*/ 49 w 413"/>
                  <a:gd name="T1" fmla="*/ 0 h 152"/>
                  <a:gd name="T2" fmla="*/ 23 w 413"/>
                  <a:gd name="T3" fmla="*/ 16 h 152"/>
                  <a:gd name="T4" fmla="*/ 210 w 413"/>
                  <a:gd name="T5" fmla="*/ 77 h 152"/>
                  <a:gd name="T6" fmla="*/ 289 w 413"/>
                  <a:gd name="T7" fmla="*/ 108 h 152"/>
                  <a:gd name="T8" fmla="*/ 197 w 413"/>
                  <a:gd name="T9" fmla="*/ 86 h 152"/>
                  <a:gd name="T10" fmla="*/ 15 w 413"/>
                  <a:gd name="T11" fmla="*/ 22 h 152"/>
                  <a:gd name="T12" fmla="*/ 0 w 413"/>
                  <a:gd name="T13" fmla="*/ 35 h 152"/>
                  <a:gd name="T14" fmla="*/ 185 w 413"/>
                  <a:gd name="T15" fmla="*/ 100 h 152"/>
                  <a:gd name="T16" fmla="*/ 413 w 413"/>
                  <a:gd name="T17" fmla="*/ 152 h 152"/>
                  <a:gd name="T18" fmla="*/ 402 w 413"/>
                  <a:gd name="T19" fmla="*/ 121 h 152"/>
                  <a:gd name="T20" fmla="*/ 323 w 413"/>
                  <a:gd name="T21" fmla="*/ 98 h 152"/>
                  <a:gd name="T22" fmla="*/ 203 w 413"/>
                  <a:gd name="T23" fmla="*/ 53 h 152"/>
                  <a:gd name="T24" fmla="*/ 49 w 413"/>
                  <a:gd name="T25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3" h="152">
                    <a:moveTo>
                      <a:pt x="49" y="0"/>
                    </a:moveTo>
                    <a:cubicBezTo>
                      <a:pt x="40" y="5"/>
                      <a:pt x="32" y="10"/>
                      <a:pt x="23" y="16"/>
                    </a:cubicBezTo>
                    <a:cubicBezTo>
                      <a:pt x="88" y="20"/>
                      <a:pt x="153" y="53"/>
                      <a:pt x="210" y="77"/>
                    </a:cubicBezTo>
                    <a:cubicBezTo>
                      <a:pt x="237" y="89"/>
                      <a:pt x="262" y="100"/>
                      <a:pt x="289" y="108"/>
                    </a:cubicBezTo>
                    <a:cubicBezTo>
                      <a:pt x="258" y="101"/>
                      <a:pt x="227" y="95"/>
                      <a:pt x="197" y="86"/>
                    </a:cubicBezTo>
                    <a:cubicBezTo>
                      <a:pt x="135" y="69"/>
                      <a:pt x="73" y="51"/>
                      <a:pt x="15" y="22"/>
                    </a:cubicBezTo>
                    <a:cubicBezTo>
                      <a:pt x="10" y="26"/>
                      <a:pt x="5" y="31"/>
                      <a:pt x="0" y="35"/>
                    </a:cubicBezTo>
                    <a:cubicBezTo>
                      <a:pt x="58" y="65"/>
                      <a:pt x="121" y="85"/>
                      <a:pt x="185" y="100"/>
                    </a:cubicBezTo>
                    <a:cubicBezTo>
                      <a:pt x="260" y="118"/>
                      <a:pt x="336" y="138"/>
                      <a:pt x="413" y="152"/>
                    </a:cubicBezTo>
                    <a:cubicBezTo>
                      <a:pt x="410" y="141"/>
                      <a:pt x="406" y="131"/>
                      <a:pt x="402" y="121"/>
                    </a:cubicBezTo>
                    <a:cubicBezTo>
                      <a:pt x="376" y="111"/>
                      <a:pt x="350" y="104"/>
                      <a:pt x="323" y="98"/>
                    </a:cubicBezTo>
                    <a:cubicBezTo>
                      <a:pt x="281" y="88"/>
                      <a:pt x="243" y="71"/>
                      <a:pt x="203" y="53"/>
                    </a:cubicBezTo>
                    <a:cubicBezTo>
                      <a:pt x="156" y="32"/>
                      <a:pt x="103" y="8"/>
                      <a:pt x="49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4" name="Freeform 3186"/>
              <p:cNvSpPr/>
              <p:nvPr userDrawn="1"/>
            </p:nvSpPr>
            <p:spPr bwMode="auto">
              <a:xfrm>
                <a:off x="5281938" y="933985"/>
                <a:ext cx="782377" cy="266597"/>
              </a:xfrm>
              <a:custGeom>
                <a:avLst/>
                <a:gdLst>
                  <a:gd name="T0" fmla="*/ 2 w 427"/>
                  <a:gd name="T1" fmla="*/ 0 h 146"/>
                  <a:gd name="T2" fmla="*/ 0 w 427"/>
                  <a:gd name="T3" fmla="*/ 0 h 146"/>
                  <a:gd name="T4" fmla="*/ 12 w 427"/>
                  <a:gd name="T5" fmla="*/ 26 h 146"/>
                  <a:gd name="T6" fmla="*/ 17 w 427"/>
                  <a:gd name="T7" fmla="*/ 27 h 146"/>
                  <a:gd name="T8" fmla="*/ 22 w 427"/>
                  <a:gd name="T9" fmla="*/ 26 h 146"/>
                  <a:gd name="T10" fmla="*/ 22 w 427"/>
                  <a:gd name="T11" fmla="*/ 26 h 146"/>
                  <a:gd name="T12" fmla="*/ 89 w 427"/>
                  <a:gd name="T13" fmla="*/ 42 h 146"/>
                  <a:gd name="T14" fmla="*/ 133 w 427"/>
                  <a:gd name="T15" fmla="*/ 53 h 146"/>
                  <a:gd name="T16" fmla="*/ 206 w 427"/>
                  <a:gd name="T17" fmla="*/ 66 h 146"/>
                  <a:gd name="T18" fmla="*/ 229 w 427"/>
                  <a:gd name="T19" fmla="*/ 73 h 146"/>
                  <a:gd name="T20" fmla="*/ 331 w 427"/>
                  <a:gd name="T21" fmla="*/ 105 h 146"/>
                  <a:gd name="T22" fmla="*/ 402 w 427"/>
                  <a:gd name="T23" fmla="*/ 133 h 146"/>
                  <a:gd name="T24" fmla="*/ 384 w 427"/>
                  <a:gd name="T25" fmla="*/ 133 h 146"/>
                  <a:gd name="T26" fmla="*/ 274 w 427"/>
                  <a:gd name="T27" fmla="*/ 119 h 146"/>
                  <a:gd name="T28" fmla="*/ 135 w 427"/>
                  <a:gd name="T29" fmla="*/ 78 h 146"/>
                  <a:gd name="T30" fmla="*/ 131 w 427"/>
                  <a:gd name="T31" fmla="*/ 77 h 146"/>
                  <a:gd name="T32" fmla="*/ 127 w 427"/>
                  <a:gd name="T33" fmla="*/ 98 h 146"/>
                  <a:gd name="T34" fmla="*/ 389 w 427"/>
                  <a:gd name="T35" fmla="*/ 146 h 146"/>
                  <a:gd name="T36" fmla="*/ 420 w 427"/>
                  <a:gd name="T37" fmla="*/ 145 h 146"/>
                  <a:gd name="T38" fmla="*/ 424 w 427"/>
                  <a:gd name="T39" fmla="*/ 134 h 146"/>
                  <a:gd name="T40" fmla="*/ 346 w 427"/>
                  <a:gd name="T41" fmla="*/ 89 h 146"/>
                  <a:gd name="T42" fmla="*/ 243 w 427"/>
                  <a:gd name="T43" fmla="*/ 57 h 146"/>
                  <a:gd name="T44" fmla="*/ 236 w 427"/>
                  <a:gd name="T45" fmla="*/ 55 h 146"/>
                  <a:gd name="T46" fmla="*/ 3 w 427"/>
                  <a:gd name="T47" fmla="*/ 0 h 146"/>
                  <a:gd name="T48" fmla="*/ 2 w 427"/>
                  <a:gd name="T49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27" h="146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4" y="9"/>
                      <a:pt x="7" y="17"/>
                      <a:pt x="12" y="26"/>
                    </a:cubicBezTo>
                    <a:cubicBezTo>
                      <a:pt x="13" y="26"/>
                      <a:pt x="15" y="27"/>
                      <a:pt x="17" y="27"/>
                    </a:cubicBezTo>
                    <a:cubicBezTo>
                      <a:pt x="18" y="27"/>
                      <a:pt x="20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45" y="27"/>
                      <a:pt x="67" y="36"/>
                      <a:pt x="89" y="42"/>
                    </a:cubicBezTo>
                    <a:cubicBezTo>
                      <a:pt x="104" y="45"/>
                      <a:pt x="118" y="50"/>
                      <a:pt x="133" y="53"/>
                    </a:cubicBezTo>
                    <a:cubicBezTo>
                      <a:pt x="157" y="58"/>
                      <a:pt x="181" y="61"/>
                      <a:pt x="206" y="66"/>
                    </a:cubicBezTo>
                    <a:cubicBezTo>
                      <a:pt x="213" y="68"/>
                      <a:pt x="221" y="70"/>
                      <a:pt x="229" y="73"/>
                    </a:cubicBezTo>
                    <a:cubicBezTo>
                      <a:pt x="263" y="84"/>
                      <a:pt x="297" y="95"/>
                      <a:pt x="331" y="105"/>
                    </a:cubicBezTo>
                    <a:cubicBezTo>
                      <a:pt x="355" y="111"/>
                      <a:pt x="381" y="118"/>
                      <a:pt x="402" y="133"/>
                    </a:cubicBezTo>
                    <a:cubicBezTo>
                      <a:pt x="396" y="133"/>
                      <a:pt x="390" y="133"/>
                      <a:pt x="384" y="133"/>
                    </a:cubicBezTo>
                    <a:cubicBezTo>
                      <a:pt x="347" y="133"/>
                      <a:pt x="309" y="126"/>
                      <a:pt x="274" y="119"/>
                    </a:cubicBezTo>
                    <a:cubicBezTo>
                      <a:pt x="227" y="108"/>
                      <a:pt x="180" y="95"/>
                      <a:pt x="135" y="78"/>
                    </a:cubicBezTo>
                    <a:cubicBezTo>
                      <a:pt x="133" y="78"/>
                      <a:pt x="132" y="77"/>
                      <a:pt x="131" y="77"/>
                    </a:cubicBezTo>
                    <a:cubicBezTo>
                      <a:pt x="120" y="77"/>
                      <a:pt x="115" y="94"/>
                      <a:pt x="127" y="98"/>
                    </a:cubicBezTo>
                    <a:cubicBezTo>
                      <a:pt x="212" y="127"/>
                      <a:pt x="300" y="146"/>
                      <a:pt x="389" y="146"/>
                    </a:cubicBezTo>
                    <a:cubicBezTo>
                      <a:pt x="399" y="146"/>
                      <a:pt x="410" y="146"/>
                      <a:pt x="420" y="145"/>
                    </a:cubicBezTo>
                    <a:cubicBezTo>
                      <a:pt x="425" y="145"/>
                      <a:pt x="427" y="138"/>
                      <a:pt x="424" y="134"/>
                    </a:cubicBezTo>
                    <a:cubicBezTo>
                      <a:pt x="406" y="107"/>
                      <a:pt x="376" y="98"/>
                      <a:pt x="346" y="89"/>
                    </a:cubicBezTo>
                    <a:cubicBezTo>
                      <a:pt x="313" y="75"/>
                      <a:pt x="278" y="65"/>
                      <a:pt x="243" y="57"/>
                    </a:cubicBezTo>
                    <a:cubicBezTo>
                      <a:pt x="241" y="56"/>
                      <a:pt x="239" y="56"/>
                      <a:pt x="236" y="55"/>
                    </a:cubicBezTo>
                    <a:cubicBezTo>
                      <a:pt x="160" y="31"/>
                      <a:pt x="83" y="6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5" name="Freeform 3187"/>
              <p:cNvSpPr/>
              <p:nvPr userDrawn="1"/>
            </p:nvSpPr>
            <p:spPr bwMode="auto">
              <a:xfrm>
                <a:off x="5658390" y="935325"/>
                <a:ext cx="467550" cy="158083"/>
              </a:xfrm>
              <a:custGeom>
                <a:avLst/>
                <a:gdLst>
                  <a:gd name="T0" fmla="*/ 12 w 255"/>
                  <a:gd name="T1" fmla="*/ 0 h 86"/>
                  <a:gd name="T2" fmla="*/ 9 w 255"/>
                  <a:gd name="T3" fmla="*/ 17 h 86"/>
                  <a:gd name="T4" fmla="*/ 151 w 255"/>
                  <a:gd name="T5" fmla="*/ 59 h 86"/>
                  <a:gd name="T6" fmla="*/ 225 w 255"/>
                  <a:gd name="T7" fmla="*/ 77 h 86"/>
                  <a:gd name="T8" fmla="*/ 243 w 255"/>
                  <a:gd name="T9" fmla="*/ 85 h 86"/>
                  <a:gd name="T10" fmla="*/ 246 w 255"/>
                  <a:gd name="T11" fmla="*/ 86 h 86"/>
                  <a:gd name="T12" fmla="*/ 252 w 255"/>
                  <a:gd name="T13" fmla="*/ 80 h 86"/>
                  <a:gd name="T14" fmla="*/ 252 w 255"/>
                  <a:gd name="T15" fmla="*/ 80 h 86"/>
                  <a:gd name="T16" fmla="*/ 255 w 255"/>
                  <a:gd name="T17" fmla="*/ 71 h 86"/>
                  <a:gd name="T18" fmla="*/ 242 w 255"/>
                  <a:gd name="T19" fmla="*/ 67 h 86"/>
                  <a:gd name="T20" fmla="*/ 105 w 255"/>
                  <a:gd name="T21" fmla="*/ 21 h 86"/>
                  <a:gd name="T22" fmla="*/ 13 w 255"/>
                  <a:gd name="T23" fmla="*/ 0 h 86"/>
                  <a:gd name="T24" fmla="*/ 12 w 255"/>
                  <a:gd name="T2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86">
                    <a:moveTo>
                      <a:pt x="12" y="0"/>
                    </a:moveTo>
                    <a:cubicBezTo>
                      <a:pt x="3" y="0"/>
                      <a:pt x="0" y="14"/>
                      <a:pt x="9" y="17"/>
                    </a:cubicBezTo>
                    <a:cubicBezTo>
                      <a:pt x="56" y="31"/>
                      <a:pt x="104" y="45"/>
                      <a:pt x="151" y="59"/>
                    </a:cubicBezTo>
                    <a:cubicBezTo>
                      <a:pt x="175" y="67"/>
                      <a:pt x="200" y="73"/>
                      <a:pt x="225" y="77"/>
                    </a:cubicBezTo>
                    <a:cubicBezTo>
                      <a:pt x="231" y="80"/>
                      <a:pt x="237" y="82"/>
                      <a:pt x="243" y="85"/>
                    </a:cubicBezTo>
                    <a:cubicBezTo>
                      <a:pt x="244" y="85"/>
                      <a:pt x="245" y="86"/>
                      <a:pt x="246" y="86"/>
                    </a:cubicBezTo>
                    <a:cubicBezTo>
                      <a:pt x="249" y="86"/>
                      <a:pt x="251" y="83"/>
                      <a:pt x="252" y="80"/>
                    </a:cubicBezTo>
                    <a:cubicBezTo>
                      <a:pt x="252" y="80"/>
                      <a:pt x="252" y="80"/>
                      <a:pt x="252" y="80"/>
                    </a:cubicBezTo>
                    <a:cubicBezTo>
                      <a:pt x="253" y="77"/>
                      <a:pt x="254" y="74"/>
                      <a:pt x="255" y="71"/>
                    </a:cubicBezTo>
                    <a:cubicBezTo>
                      <a:pt x="251" y="70"/>
                      <a:pt x="246" y="69"/>
                      <a:pt x="242" y="67"/>
                    </a:cubicBezTo>
                    <a:cubicBezTo>
                      <a:pt x="203" y="41"/>
                      <a:pt x="154" y="31"/>
                      <a:pt x="105" y="21"/>
                    </a:cubicBezTo>
                    <a:cubicBezTo>
                      <a:pt x="75" y="11"/>
                      <a:pt x="45" y="3"/>
                      <a:pt x="13" y="0"/>
                    </a:cubicBezTo>
                    <a:cubicBezTo>
                      <a:pt x="13" y="0"/>
                      <a:pt x="13" y="0"/>
                      <a:pt x="12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6" name="Freeform 3188"/>
              <p:cNvSpPr/>
              <p:nvPr userDrawn="1"/>
            </p:nvSpPr>
            <p:spPr bwMode="auto">
              <a:xfrm>
                <a:off x="5835228" y="850925"/>
                <a:ext cx="6698" cy="2679"/>
              </a:xfrm>
              <a:custGeom>
                <a:avLst/>
                <a:gdLst>
                  <a:gd name="T0" fmla="*/ 3 w 3"/>
                  <a:gd name="T1" fmla="*/ 0 h 1"/>
                  <a:gd name="T2" fmla="*/ 3 w 3"/>
                  <a:gd name="T3" fmla="*/ 0 h 1"/>
                  <a:gd name="T4" fmla="*/ 0 w 3"/>
                  <a:gd name="T5" fmla="*/ 1 h 1"/>
                  <a:gd name="T6" fmla="*/ 0 w 3"/>
                  <a:gd name="T7" fmla="*/ 1 h 1"/>
                  <a:gd name="T8" fmla="*/ 1 w 3"/>
                  <a:gd name="T9" fmla="*/ 1 h 1"/>
                  <a:gd name="T10" fmla="*/ 3 w 3"/>
                  <a:gd name="T11" fmla="*/ 1 h 1"/>
                  <a:gd name="T12" fmla="*/ 3 w 3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7" name="Freeform 3189"/>
              <p:cNvSpPr/>
              <p:nvPr userDrawn="1"/>
            </p:nvSpPr>
            <p:spPr bwMode="auto">
              <a:xfrm>
                <a:off x="5275240" y="710258"/>
                <a:ext cx="577405" cy="146026"/>
              </a:xfrm>
              <a:custGeom>
                <a:avLst/>
                <a:gdLst>
                  <a:gd name="T0" fmla="*/ 3 w 315"/>
                  <a:gd name="T1" fmla="*/ 0 h 80"/>
                  <a:gd name="T2" fmla="*/ 0 w 315"/>
                  <a:gd name="T3" fmla="*/ 6 h 80"/>
                  <a:gd name="T4" fmla="*/ 25 w 315"/>
                  <a:gd name="T5" fmla="*/ 15 h 80"/>
                  <a:gd name="T6" fmla="*/ 49 w 315"/>
                  <a:gd name="T7" fmla="*/ 22 h 80"/>
                  <a:gd name="T8" fmla="*/ 173 w 315"/>
                  <a:gd name="T9" fmla="*/ 53 h 80"/>
                  <a:gd name="T10" fmla="*/ 268 w 315"/>
                  <a:gd name="T11" fmla="*/ 73 h 80"/>
                  <a:gd name="T12" fmla="*/ 296 w 315"/>
                  <a:gd name="T13" fmla="*/ 79 h 80"/>
                  <a:gd name="T14" fmla="*/ 299 w 315"/>
                  <a:gd name="T15" fmla="*/ 80 h 80"/>
                  <a:gd name="T16" fmla="*/ 306 w 315"/>
                  <a:gd name="T17" fmla="*/ 78 h 80"/>
                  <a:gd name="T18" fmla="*/ 306 w 315"/>
                  <a:gd name="T19" fmla="*/ 78 h 80"/>
                  <a:gd name="T20" fmla="*/ 304 w 315"/>
                  <a:gd name="T21" fmla="*/ 78 h 80"/>
                  <a:gd name="T22" fmla="*/ 306 w 315"/>
                  <a:gd name="T23" fmla="*/ 78 h 80"/>
                  <a:gd name="T24" fmla="*/ 306 w 315"/>
                  <a:gd name="T25" fmla="*/ 78 h 80"/>
                  <a:gd name="T26" fmla="*/ 309 w 315"/>
                  <a:gd name="T27" fmla="*/ 77 h 80"/>
                  <a:gd name="T28" fmla="*/ 306 w 315"/>
                  <a:gd name="T29" fmla="*/ 61 h 80"/>
                  <a:gd name="T30" fmla="*/ 310 w 315"/>
                  <a:gd name="T31" fmla="*/ 62 h 80"/>
                  <a:gd name="T32" fmla="*/ 308 w 315"/>
                  <a:gd name="T33" fmla="*/ 61 h 80"/>
                  <a:gd name="T34" fmla="*/ 299 w 315"/>
                  <a:gd name="T35" fmla="*/ 57 h 80"/>
                  <a:gd name="T36" fmla="*/ 271 w 315"/>
                  <a:gd name="T37" fmla="*/ 51 h 80"/>
                  <a:gd name="T38" fmla="*/ 175 w 315"/>
                  <a:gd name="T39" fmla="*/ 31 h 80"/>
                  <a:gd name="T40" fmla="*/ 3 w 315"/>
                  <a:gd name="T41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5" h="80">
                    <a:moveTo>
                      <a:pt x="3" y="0"/>
                    </a:moveTo>
                    <a:cubicBezTo>
                      <a:pt x="2" y="2"/>
                      <a:pt x="1" y="4"/>
                      <a:pt x="0" y="6"/>
                    </a:cubicBezTo>
                    <a:cubicBezTo>
                      <a:pt x="8" y="9"/>
                      <a:pt x="17" y="12"/>
                      <a:pt x="25" y="15"/>
                    </a:cubicBezTo>
                    <a:cubicBezTo>
                      <a:pt x="33" y="17"/>
                      <a:pt x="41" y="20"/>
                      <a:pt x="49" y="22"/>
                    </a:cubicBezTo>
                    <a:cubicBezTo>
                      <a:pt x="90" y="34"/>
                      <a:pt x="132" y="43"/>
                      <a:pt x="173" y="53"/>
                    </a:cubicBezTo>
                    <a:cubicBezTo>
                      <a:pt x="204" y="60"/>
                      <a:pt x="236" y="67"/>
                      <a:pt x="268" y="73"/>
                    </a:cubicBezTo>
                    <a:cubicBezTo>
                      <a:pt x="277" y="75"/>
                      <a:pt x="287" y="78"/>
                      <a:pt x="296" y="79"/>
                    </a:cubicBezTo>
                    <a:cubicBezTo>
                      <a:pt x="297" y="80"/>
                      <a:pt x="298" y="80"/>
                      <a:pt x="299" y="80"/>
                    </a:cubicBezTo>
                    <a:cubicBezTo>
                      <a:pt x="301" y="80"/>
                      <a:pt x="303" y="79"/>
                      <a:pt x="306" y="78"/>
                    </a:cubicBezTo>
                    <a:cubicBezTo>
                      <a:pt x="306" y="78"/>
                      <a:pt x="306" y="78"/>
                      <a:pt x="306" y="78"/>
                    </a:cubicBezTo>
                    <a:cubicBezTo>
                      <a:pt x="306" y="78"/>
                      <a:pt x="305" y="78"/>
                      <a:pt x="304" y="78"/>
                    </a:cubicBezTo>
                    <a:cubicBezTo>
                      <a:pt x="305" y="78"/>
                      <a:pt x="305" y="78"/>
                      <a:pt x="306" y="78"/>
                    </a:cubicBezTo>
                    <a:cubicBezTo>
                      <a:pt x="306" y="78"/>
                      <a:pt x="306" y="78"/>
                      <a:pt x="306" y="78"/>
                    </a:cubicBezTo>
                    <a:cubicBezTo>
                      <a:pt x="307" y="78"/>
                      <a:pt x="308" y="78"/>
                      <a:pt x="309" y="77"/>
                    </a:cubicBezTo>
                    <a:cubicBezTo>
                      <a:pt x="315" y="75"/>
                      <a:pt x="315" y="63"/>
                      <a:pt x="306" y="61"/>
                    </a:cubicBezTo>
                    <a:cubicBezTo>
                      <a:pt x="308" y="62"/>
                      <a:pt x="309" y="62"/>
                      <a:pt x="310" y="62"/>
                    </a:cubicBezTo>
                    <a:cubicBezTo>
                      <a:pt x="309" y="62"/>
                      <a:pt x="309" y="62"/>
                      <a:pt x="308" y="61"/>
                    </a:cubicBezTo>
                    <a:cubicBezTo>
                      <a:pt x="305" y="59"/>
                      <a:pt x="303" y="57"/>
                      <a:pt x="299" y="57"/>
                    </a:cubicBezTo>
                    <a:cubicBezTo>
                      <a:pt x="289" y="55"/>
                      <a:pt x="280" y="53"/>
                      <a:pt x="271" y="51"/>
                    </a:cubicBezTo>
                    <a:cubicBezTo>
                      <a:pt x="239" y="44"/>
                      <a:pt x="207" y="38"/>
                      <a:pt x="175" y="31"/>
                    </a:cubicBezTo>
                    <a:cubicBezTo>
                      <a:pt x="118" y="20"/>
                      <a:pt x="60" y="12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8" name="Freeform 3190"/>
              <p:cNvSpPr/>
              <p:nvPr userDrawn="1"/>
            </p:nvSpPr>
            <p:spPr bwMode="auto">
              <a:xfrm>
                <a:off x="5320789" y="738391"/>
                <a:ext cx="44210" cy="12057"/>
              </a:xfrm>
              <a:custGeom>
                <a:avLst/>
                <a:gdLst>
                  <a:gd name="T0" fmla="*/ 0 w 24"/>
                  <a:gd name="T1" fmla="*/ 0 h 7"/>
                  <a:gd name="T2" fmla="*/ 24 w 24"/>
                  <a:gd name="T3" fmla="*/ 7 h 7"/>
                  <a:gd name="T4" fmla="*/ 0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0" y="0"/>
                    </a:moveTo>
                    <a:cubicBezTo>
                      <a:pt x="8" y="2"/>
                      <a:pt x="16" y="5"/>
                      <a:pt x="24" y="7"/>
                    </a:cubicBezTo>
                    <a:cubicBezTo>
                      <a:pt x="16" y="5"/>
                      <a:pt x="8" y="2"/>
                      <a:pt x="0" y="0"/>
                    </a:cubicBezTo>
                  </a:path>
                </a:pathLst>
              </a:custGeom>
              <a:solidFill>
                <a:srgbClr val="EAA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79" name="Freeform 3191"/>
              <p:cNvSpPr/>
              <p:nvPr userDrawn="1"/>
            </p:nvSpPr>
            <p:spPr bwMode="auto">
              <a:xfrm>
                <a:off x="5843267" y="824131"/>
                <a:ext cx="4019" cy="1340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1" y="1"/>
                      <a:pt x="0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0" name="Freeform 3192"/>
              <p:cNvSpPr/>
              <p:nvPr userDrawn="1"/>
            </p:nvSpPr>
            <p:spPr bwMode="auto">
              <a:xfrm>
                <a:off x="5307392" y="983554"/>
                <a:ext cx="296071" cy="71003"/>
              </a:xfrm>
              <a:custGeom>
                <a:avLst/>
                <a:gdLst>
                  <a:gd name="T0" fmla="*/ 3 w 161"/>
                  <a:gd name="T1" fmla="*/ 0 h 39"/>
                  <a:gd name="T2" fmla="*/ 0 w 161"/>
                  <a:gd name="T3" fmla="*/ 4 h 39"/>
                  <a:gd name="T4" fmla="*/ 6 w 161"/>
                  <a:gd name="T5" fmla="*/ 14 h 39"/>
                  <a:gd name="T6" fmla="*/ 81 w 161"/>
                  <a:gd name="T7" fmla="*/ 29 h 39"/>
                  <a:gd name="T8" fmla="*/ 160 w 161"/>
                  <a:gd name="T9" fmla="*/ 39 h 39"/>
                  <a:gd name="T10" fmla="*/ 160 w 161"/>
                  <a:gd name="T11" fmla="*/ 39 h 39"/>
                  <a:gd name="T12" fmla="*/ 160 w 161"/>
                  <a:gd name="T13" fmla="*/ 37 h 39"/>
                  <a:gd name="T14" fmla="*/ 119 w 161"/>
                  <a:gd name="T15" fmla="*/ 26 h 39"/>
                  <a:gd name="T16" fmla="*/ 3 w 161"/>
                  <a:gd name="T1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" h="39">
                    <a:moveTo>
                      <a:pt x="3" y="0"/>
                    </a:moveTo>
                    <a:cubicBezTo>
                      <a:pt x="2" y="1"/>
                      <a:pt x="1" y="3"/>
                      <a:pt x="0" y="4"/>
                    </a:cubicBezTo>
                    <a:cubicBezTo>
                      <a:pt x="2" y="7"/>
                      <a:pt x="4" y="11"/>
                      <a:pt x="6" y="14"/>
                    </a:cubicBezTo>
                    <a:cubicBezTo>
                      <a:pt x="29" y="23"/>
                      <a:pt x="56" y="25"/>
                      <a:pt x="81" y="29"/>
                    </a:cubicBezTo>
                    <a:cubicBezTo>
                      <a:pt x="107" y="33"/>
                      <a:pt x="133" y="36"/>
                      <a:pt x="160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1" y="39"/>
                      <a:pt x="161" y="37"/>
                      <a:pt x="160" y="37"/>
                    </a:cubicBezTo>
                    <a:cubicBezTo>
                      <a:pt x="146" y="34"/>
                      <a:pt x="133" y="30"/>
                      <a:pt x="119" y="26"/>
                    </a:cubicBezTo>
                    <a:cubicBezTo>
                      <a:pt x="80" y="20"/>
                      <a:pt x="41" y="12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1" name="Freeform 3193"/>
              <p:cNvSpPr/>
              <p:nvPr userDrawn="1"/>
            </p:nvSpPr>
            <p:spPr bwMode="auto">
              <a:xfrm>
                <a:off x="5312751" y="980874"/>
                <a:ext cx="213010" cy="49568"/>
              </a:xfrm>
              <a:custGeom>
                <a:avLst/>
                <a:gdLst>
                  <a:gd name="T0" fmla="*/ 5 w 116"/>
                  <a:gd name="T1" fmla="*/ 0 h 27"/>
                  <a:gd name="T2" fmla="*/ 0 w 116"/>
                  <a:gd name="T3" fmla="*/ 1 h 27"/>
                  <a:gd name="T4" fmla="*/ 116 w 116"/>
                  <a:gd name="T5" fmla="*/ 27 h 27"/>
                  <a:gd name="T6" fmla="*/ 72 w 116"/>
                  <a:gd name="T7" fmla="*/ 16 h 27"/>
                  <a:gd name="T8" fmla="*/ 5 w 116"/>
                  <a:gd name="T9" fmla="*/ 0 h 27"/>
                  <a:gd name="T10" fmla="*/ 5 w 116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27">
                    <a:moveTo>
                      <a:pt x="5" y="0"/>
                    </a:moveTo>
                    <a:cubicBezTo>
                      <a:pt x="3" y="0"/>
                      <a:pt x="1" y="1"/>
                      <a:pt x="0" y="1"/>
                    </a:cubicBezTo>
                    <a:cubicBezTo>
                      <a:pt x="38" y="13"/>
                      <a:pt x="77" y="21"/>
                      <a:pt x="116" y="27"/>
                    </a:cubicBezTo>
                    <a:cubicBezTo>
                      <a:pt x="101" y="24"/>
                      <a:pt x="87" y="19"/>
                      <a:pt x="72" y="16"/>
                    </a:cubicBezTo>
                    <a:cubicBezTo>
                      <a:pt x="50" y="10"/>
                      <a:pt x="28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EAA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2" name="Freeform 3194"/>
              <p:cNvSpPr>
                <a:spLocks noEditPoints="1"/>
              </p:cNvSpPr>
              <p:nvPr userDrawn="1"/>
            </p:nvSpPr>
            <p:spPr bwMode="auto">
              <a:xfrm>
                <a:off x="5425285" y="1134938"/>
                <a:ext cx="521138" cy="239804"/>
              </a:xfrm>
              <a:custGeom>
                <a:avLst/>
                <a:gdLst>
                  <a:gd name="T0" fmla="*/ 251 w 284"/>
                  <a:gd name="T1" fmla="*/ 118 h 131"/>
                  <a:gd name="T2" fmla="*/ 220 w 284"/>
                  <a:gd name="T3" fmla="*/ 131 h 131"/>
                  <a:gd name="T4" fmla="*/ 220 w 284"/>
                  <a:gd name="T5" fmla="*/ 131 h 131"/>
                  <a:gd name="T6" fmla="*/ 251 w 284"/>
                  <a:gd name="T7" fmla="*/ 118 h 131"/>
                  <a:gd name="T8" fmla="*/ 251 w 284"/>
                  <a:gd name="T9" fmla="*/ 118 h 131"/>
                  <a:gd name="T10" fmla="*/ 284 w 284"/>
                  <a:gd name="T11" fmla="*/ 99 h 131"/>
                  <a:gd name="T12" fmla="*/ 279 w 284"/>
                  <a:gd name="T13" fmla="*/ 102 h 131"/>
                  <a:gd name="T14" fmla="*/ 279 w 284"/>
                  <a:gd name="T15" fmla="*/ 102 h 131"/>
                  <a:gd name="T16" fmla="*/ 284 w 284"/>
                  <a:gd name="T17" fmla="*/ 99 h 131"/>
                  <a:gd name="T18" fmla="*/ 284 w 284"/>
                  <a:gd name="T19" fmla="*/ 99 h 131"/>
                  <a:gd name="T20" fmla="*/ 0 w 284"/>
                  <a:gd name="T21" fmla="*/ 0 h 131"/>
                  <a:gd name="T22" fmla="*/ 28 w 284"/>
                  <a:gd name="T23" fmla="*/ 26 h 131"/>
                  <a:gd name="T24" fmla="*/ 39 w 284"/>
                  <a:gd name="T25" fmla="*/ 33 h 131"/>
                  <a:gd name="T26" fmla="*/ 93 w 284"/>
                  <a:gd name="T27" fmla="*/ 44 h 131"/>
                  <a:gd name="T28" fmla="*/ 221 w 284"/>
                  <a:gd name="T29" fmla="*/ 79 h 131"/>
                  <a:gd name="T30" fmla="*/ 240 w 284"/>
                  <a:gd name="T31" fmla="*/ 77 h 131"/>
                  <a:gd name="T32" fmla="*/ 97 w 284"/>
                  <a:gd name="T33" fmla="*/ 27 h 131"/>
                  <a:gd name="T34" fmla="*/ 0 w 284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4" h="131">
                    <a:moveTo>
                      <a:pt x="251" y="118"/>
                    </a:moveTo>
                    <a:cubicBezTo>
                      <a:pt x="241" y="123"/>
                      <a:pt x="231" y="127"/>
                      <a:pt x="220" y="131"/>
                    </a:cubicBezTo>
                    <a:cubicBezTo>
                      <a:pt x="220" y="131"/>
                      <a:pt x="220" y="131"/>
                      <a:pt x="220" y="131"/>
                    </a:cubicBezTo>
                    <a:cubicBezTo>
                      <a:pt x="231" y="127"/>
                      <a:pt x="241" y="123"/>
                      <a:pt x="251" y="118"/>
                    </a:cubicBezTo>
                    <a:cubicBezTo>
                      <a:pt x="251" y="118"/>
                      <a:pt x="251" y="118"/>
                      <a:pt x="251" y="118"/>
                    </a:cubicBezTo>
                    <a:moveTo>
                      <a:pt x="284" y="99"/>
                    </a:moveTo>
                    <a:cubicBezTo>
                      <a:pt x="282" y="100"/>
                      <a:pt x="281" y="101"/>
                      <a:pt x="279" y="102"/>
                    </a:cubicBezTo>
                    <a:cubicBezTo>
                      <a:pt x="279" y="102"/>
                      <a:pt x="279" y="102"/>
                      <a:pt x="279" y="102"/>
                    </a:cubicBezTo>
                    <a:cubicBezTo>
                      <a:pt x="281" y="101"/>
                      <a:pt x="282" y="100"/>
                      <a:pt x="284" y="99"/>
                    </a:cubicBezTo>
                    <a:cubicBezTo>
                      <a:pt x="284" y="99"/>
                      <a:pt x="284" y="99"/>
                      <a:pt x="284" y="99"/>
                    </a:cubicBezTo>
                    <a:moveTo>
                      <a:pt x="0" y="0"/>
                    </a:moveTo>
                    <a:cubicBezTo>
                      <a:pt x="9" y="8"/>
                      <a:pt x="19" y="17"/>
                      <a:pt x="28" y="26"/>
                    </a:cubicBezTo>
                    <a:cubicBezTo>
                      <a:pt x="32" y="28"/>
                      <a:pt x="35" y="31"/>
                      <a:pt x="39" y="33"/>
                    </a:cubicBezTo>
                    <a:cubicBezTo>
                      <a:pt x="57" y="37"/>
                      <a:pt x="75" y="40"/>
                      <a:pt x="93" y="44"/>
                    </a:cubicBezTo>
                    <a:cubicBezTo>
                      <a:pt x="136" y="53"/>
                      <a:pt x="179" y="64"/>
                      <a:pt x="221" y="79"/>
                    </a:cubicBezTo>
                    <a:cubicBezTo>
                      <a:pt x="227" y="78"/>
                      <a:pt x="234" y="78"/>
                      <a:pt x="240" y="77"/>
                    </a:cubicBezTo>
                    <a:cubicBezTo>
                      <a:pt x="194" y="56"/>
                      <a:pt x="146" y="41"/>
                      <a:pt x="97" y="27"/>
                    </a:cubicBezTo>
                    <a:cubicBezTo>
                      <a:pt x="65" y="18"/>
                      <a:pt x="32" y="9"/>
                      <a:pt x="0" y="0"/>
                    </a:cubicBezTo>
                  </a:path>
                </a:pathLst>
              </a:custGeom>
              <a:solidFill>
                <a:srgbClr val="D2C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3" name="Freeform 3195"/>
              <p:cNvSpPr/>
              <p:nvPr userDrawn="1"/>
            </p:nvSpPr>
            <p:spPr bwMode="auto">
              <a:xfrm>
                <a:off x="5555234" y="517343"/>
                <a:ext cx="491665" cy="144686"/>
              </a:xfrm>
              <a:custGeom>
                <a:avLst/>
                <a:gdLst>
                  <a:gd name="T0" fmla="*/ 7 w 268"/>
                  <a:gd name="T1" fmla="*/ 0 h 79"/>
                  <a:gd name="T2" fmla="*/ 6 w 268"/>
                  <a:gd name="T3" fmla="*/ 10 h 79"/>
                  <a:gd name="T4" fmla="*/ 258 w 268"/>
                  <a:gd name="T5" fmla="*/ 78 h 79"/>
                  <a:gd name="T6" fmla="*/ 261 w 268"/>
                  <a:gd name="T7" fmla="*/ 79 h 79"/>
                  <a:gd name="T8" fmla="*/ 268 w 268"/>
                  <a:gd name="T9" fmla="*/ 73 h 79"/>
                  <a:gd name="T10" fmla="*/ 258 w 268"/>
                  <a:gd name="T11" fmla="*/ 62 h 79"/>
                  <a:gd name="T12" fmla="*/ 71 w 268"/>
                  <a:gd name="T13" fmla="*/ 6 h 79"/>
                  <a:gd name="T14" fmla="*/ 71 w 268"/>
                  <a:gd name="T15" fmla="*/ 6 h 79"/>
                  <a:gd name="T16" fmla="*/ 68 w 268"/>
                  <a:gd name="T17" fmla="*/ 9 h 79"/>
                  <a:gd name="T18" fmla="*/ 7 w 268"/>
                  <a:gd name="T19" fmla="*/ 0 h 79"/>
                  <a:gd name="T20" fmla="*/ 7 w 268"/>
                  <a:gd name="T2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79">
                    <a:moveTo>
                      <a:pt x="7" y="0"/>
                    </a:moveTo>
                    <a:cubicBezTo>
                      <a:pt x="1" y="0"/>
                      <a:pt x="0" y="9"/>
                      <a:pt x="6" y="10"/>
                    </a:cubicBezTo>
                    <a:cubicBezTo>
                      <a:pt x="93" y="23"/>
                      <a:pt x="175" y="51"/>
                      <a:pt x="258" y="78"/>
                    </a:cubicBezTo>
                    <a:cubicBezTo>
                      <a:pt x="259" y="79"/>
                      <a:pt x="260" y="79"/>
                      <a:pt x="261" y="79"/>
                    </a:cubicBezTo>
                    <a:cubicBezTo>
                      <a:pt x="264" y="79"/>
                      <a:pt x="267" y="76"/>
                      <a:pt x="268" y="73"/>
                    </a:cubicBezTo>
                    <a:cubicBezTo>
                      <a:pt x="265" y="70"/>
                      <a:pt x="262" y="66"/>
                      <a:pt x="258" y="62"/>
                    </a:cubicBezTo>
                    <a:cubicBezTo>
                      <a:pt x="198" y="37"/>
                      <a:pt x="136" y="15"/>
                      <a:pt x="71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69" y="6"/>
                      <a:pt x="68" y="7"/>
                      <a:pt x="68" y="9"/>
                    </a:cubicBezTo>
                    <a:cubicBezTo>
                      <a:pt x="48" y="5"/>
                      <a:pt x="28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D2C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4" name="Freeform 3196"/>
              <p:cNvSpPr>
                <a:spLocks noEditPoints="1"/>
              </p:cNvSpPr>
              <p:nvPr userDrawn="1"/>
            </p:nvSpPr>
            <p:spPr bwMode="auto">
              <a:xfrm>
                <a:off x="5225671" y="998290"/>
                <a:ext cx="547932" cy="400566"/>
              </a:xfrm>
              <a:custGeom>
                <a:avLst/>
                <a:gdLst>
                  <a:gd name="T0" fmla="*/ 249 w 299"/>
                  <a:gd name="T1" fmla="*/ 219 h 219"/>
                  <a:gd name="T2" fmla="*/ 249 w 299"/>
                  <a:gd name="T3" fmla="*/ 219 h 219"/>
                  <a:gd name="T4" fmla="*/ 249 w 299"/>
                  <a:gd name="T5" fmla="*/ 219 h 219"/>
                  <a:gd name="T6" fmla="*/ 249 w 299"/>
                  <a:gd name="T7" fmla="*/ 219 h 219"/>
                  <a:gd name="T8" fmla="*/ 294 w 299"/>
                  <a:gd name="T9" fmla="*/ 215 h 219"/>
                  <a:gd name="T10" fmla="*/ 293 w 299"/>
                  <a:gd name="T11" fmla="*/ 215 h 219"/>
                  <a:gd name="T12" fmla="*/ 294 w 299"/>
                  <a:gd name="T13" fmla="*/ 215 h 219"/>
                  <a:gd name="T14" fmla="*/ 294 w 299"/>
                  <a:gd name="T15" fmla="*/ 215 h 219"/>
                  <a:gd name="T16" fmla="*/ 294 w 299"/>
                  <a:gd name="T17" fmla="*/ 215 h 219"/>
                  <a:gd name="T18" fmla="*/ 294 w 299"/>
                  <a:gd name="T19" fmla="*/ 215 h 219"/>
                  <a:gd name="T20" fmla="*/ 295 w 299"/>
                  <a:gd name="T21" fmla="*/ 214 h 219"/>
                  <a:gd name="T22" fmla="*/ 295 w 299"/>
                  <a:gd name="T23" fmla="*/ 215 h 219"/>
                  <a:gd name="T24" fmla="*/ 295 w 299"/>
                  <a:gd name="T25" fmla="*/ 214 h 219"/>
                  <a:gd name="T26" fmla="*/ 296 w 299"/>
                  <a:gd name="T27" fmla="*/ 214 h 219"/>
                  <a:gd name="T28" fmla="*/ 296 w 299"/>
                  <a:gd name="T29" fmla="*/ 214 h 219"/>
                  <a:gd name="T30" fmla="*/ 296 w 299"/>
                  <a:gd name="T31" fmla="*/ 214 h 219"/>
                  <a:gd name="T32" fmla="*/ 297 w 299"/>
                  <a:gd name="T33" fmla="*/ 214 h 219"/>
                  <a:gd name="T34" fmla="*/ 297 w 299"/>
                  <a:gd name="T35" fmla="*/ 214 h 219"/>
                  <a:gd name="T36" fmla="*/ 297 w 299"/>
                  <a:gd name="T37" fmla="*/ 214 h 219"/>
                  <a:gd name="T38" fmla="*/ 297 w 299"/>
                  <a:gd name="T39" fmla="*/ 214 h 219"/>
                  <a:gd name="T40" fmla="*/ 297 w 299"/>
                  <a:gd name="T41" fmla="*/ 214 h 219"/>
                  <a:gd name="T42" fmla="*/ 297 w 299"/>
                  <a:gd name="T43" fmla="*/ 214 h 219"/>
                  <a:gd name="T44" fmla="*/ 298 w 299"/>
                  <a:gd name="T45" fmla="*/ 214 h 219"/>
                  <a:gd name="T46" fmla="*/ 298 w 299"/>
                  <a:gd name="T47" fmla="*/ 214 h 219"/>
                  <a:gd name="T48" fmla="*/ 298 w 299"/>
                  <a:gd name="T49" fmla="*/ 214 h 219"/>
                  <a:gd name="T50" fmla="*/ 299 w 299"/>
                  <a:gd name="T51" fmla="*/ 214 h 219"/>
                  <a:gd name="T52" fmla="*/ 299 w 299"/>
                  <a:gd name="T53" fmla="*/ 214 h 219"/>
                  <a:gd name="T54" fmla="*/ 299 w 299"/>
                  <a:gd name="T55" fmla="*/ 214 h 219"/>
                  <a:gd name="T56" fmla="*/ 2 w 299"/>
                  <a:gd name="T57" fmla="*/ 14 h 219"/>
                  <a:gd name="T58" fmla="*/ 249 w 299"/>
                  <a:gd name="T59" fmla="*/ 219 h 219"/>
                  <a:gd name="T60" fmla="*/ 2 w 299"/>
                  <a:gd name="T61" fmla="*/ 14 h 219"/>
                  <a:gd name="T62" fmla="*/ 2 w 299"/>
                  <a:gd name="T63" fmla="*/ 11 h 219"/>
                  <a:gd name="T64" fmla="*/ 2 w 299"/>
                  <a:gd name="T65" fmla="*/ 12 h 219"/>
                  <a:gd name="T66" fmla="*/ 2 w 299"/>
                  <a:gd name="T67" fmla="*/ 11 h 219"/>
                  <a:gd name="T68" fmla="*/ 1 w 299"/>
                  <a:gd name="T69" fmla="*/ 9 h 219"/>
                  <a:gd name="T70" fmla="*/ 1 w 299"/>
                  <a:gd name="T71" fmla="*/ 10 h 219"/>
                  <a:gd name="T72" fmla="*/ 1 w 299"/>
                  <a:gd name="T73" fmla="*/ 9 h 219"/>
                  <a:gd name="T74" fmla="*/ 0 w 299"/>
                  <a:gd name="T75" fmla="*/ 4 h 219"/>
                  <a:gd name="T76" fmla="*/ 1 w 299"/>
                  <a:gd name="T77" fmla="*/ 9 h 219"/>
                  <a:gd name="T78" fmla="*/ 0 w 299"/>
                  <a:gd name="T79" fmla="*/ 4 h 219"/>
                  <a:gd name="T80" fmla="*/ 0 w 299"/>
                  <a:gd name="T81" fmla="*/ 2 h 219"/>
                  <a:gd name="T82" fmla="*/ 0 w 299"/>
                  <a:gd name="T83" fmla="*/ 4 h 219"/>
                  <a:gd name="T84" fmla="*/ 0 w 299"/>
                  <a:gd name="T85" fmla="*/ 2 h 219"/>
                  <a:gd name="T86" fmla="*/ 0 w 299"/>
                  <a:gd name="T87" fmla="*/ 1 h 219"/>
                  <a:gd name="T88" fmla="*/ 0 w 299"/>
                  <a:gd name="T89" fmla="*/ 2 h 219"/>
                  <a:gd name="T90" fmla="*/ 0 w 299"/>
                  <a:gd name="T91" fmla="*/ 1 h 219"/>
                  <a:gd name="T92" fmla="*/ 0 w 299"/>
                  <a:gd name="T93" fmla="*/ 1 h 219"/>
                  <a:gd name="T94" fmla="*/ 0 w 299"/>
                  <a:gd name="T95" fmla="*/ 1 h 219"/>
                  <a:gd name="T96" fmla="*/ 0 w 299"/>
                  <a:gd name="T97" fmla="*/ 1 h 219"/>
                  <a:gd name="T98" fmla="*/ 0 w 299"/>
                  <a:gd name="T99" fmla="*/ 0 h 219"/>
                  <a:gd name="T100" fmla="*/ 0 w 299"/>
                  <a:gd name="T101" fmla="*/ 0 h 219"/>
                  <a:gd name="T102" fmla="*/ 0 w 299"/>
                  <a:gd name="T103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9" h="219">
                    <a:moveTo>
                      <a:pt x="249" y="219"/>
                    </a:moveTo>
                    <a:cubicBezTo>
                      <a:pt x="249" y="219"/>
                      <a:pt x="249" y="219"/>
                      <a:pt x="249" y="219"/>
                    </a:cubicBezTo>
                    <a:cubicBezTo>
                      <a:pt x="249" y="219"/>
                      <a:pt x="249" y="219"/>
                      <a:pt x="249" y="219"/>
                    </a:cubicBezTo>
                    <a:cubicBezTo>
                      <a:pt x="249" y="219"/>
                      <a:pt x="249" y="219"/>
                      <a:pt x="249" y="219"/>
                    </a:cubicBezTo>
                    <a:moveTo>
                      <a:pt x="294" y="215"/>
                    </a:moveTo>
                    <a:cubicBezTo>
                      <a:pt x="293" y="215"/>
                      <a:pt x="293" y="215"/>
                      <a:pt x="293" y="215"/>
                    </a:cubicBezTo>
                    <a:cubicBezTo>
                      <a:pt x="293" y="215"/>
                      <a:pt x="293" y="215"/>
                      <a:pt x="294" y="215"/>
                    </a:cubicBezTo>
                    <a:moveTo>
                      <a:pt x="294" y="215"/>
                    </a:moveTo>
                    <a:cubicBezTo>
                      <a:pt x="294" y="215"/>
                      <a:pt x="294" y="215"/>
                      <a:pt x="294" y="215"/>
                    </a:cubicBezTo>
                    <a:cubicBezTo>
                      <a:pt x="294" y="215"/>
                      <a:pt x="294" y="215"/>
                      <a:pt x="294" y="215"/>
                    </a:cubicBezTo>
                    <a:moveTo>
                      <a:pt x="295" y="214"/>
                    </a:moveTo>
                    <a:cubicBezTo>
                      <a:pt x="295" y="214"/>
                      <a:pt x="295" y="214"/>
                      <a:pt x="295" y="215"/>
                    </a:cubicBezTo>
                    <a:cubicBezTo>
                      <a:pt x="295" y="214"/>
                      <a:pt x="295" y="214"/>
                      <a:pt x="295" y="214"/>
                    </a:cubicBezTo>
                    <a:moveTo>
                      <a:pt x="296" y="214"/>
                    </a:moveTo>
                    <a:cubicBezTo>
                      <a:pt x="296" y="214"/>
                      <a:pt x="296" y="214"/>
                      <a:pt x="296" y="214"/>
                    </a:cubicBezTo>
                    <a:cubicBezTo>
                      <a:pt x="296" y="214"/>
                      <a:pt x="296" y="214"/>
                      <a:pt x="296" y="214"/>
                    </a:cubicBezTo>
                    <a:moveTo>
                      <a:pt x="297" y="214"/>
                    </a:moveTo>
                    <a:cubicBezTo>
                      <a:pt x="297" y="214"/>
                      <a:pt x="297" y="214"/>
                      <a:pt x="297" y="214"/>
                    </a:cubicBezTo>
                    <a:cubicBezTo>
                      <a:pt x="297" y="214"/>
                      <a:pt x="297" y="214"/>
                      <a:pt x="297" y="214"/>
                    </a:cubicBezTo>
                    <a:moveTo>
                      <a:pt x="297" y="214"/>
                    </a:moveTo>
                    <a:cubicBezTo>
                      <a:pt x="297" y="214"/>
                      <a:pt x="297" y="214"/>
                      <a:pt x="297" y="214"/>
                    </a:cubicBezTo>
                    <a:cubicBezTo>
                      <a:pt x="297" y="214"/>
                      <a:pt x="297" y="214"/>
                      <a:pt x="297" y="214"/>
                    </a:cubicBezTo>
                    <a:moveTo>
                      <a:pt x="298" y="214"/>
                    </a:moveTo>
                    <a:cubicBezTo>
                      <a:pt x="298" y="214"/>
                      <a:pt x="298" y="214"/>
                      <a:pt x="298" y="214"/>
                    </a:cubicBezTo>
                    <a:cubicBezTo>
                      <a:pt x="298" y="214"/>
                      <a:pt x="298" y="214"/>
                      <a:pt x="298" y="214"/>
                    </a:cubicBezTo>
                    <a:moveTo>
                      <a:pt x="299" y="214"/>
                    </a:moveTo>
                    <a:cubicBezTo>
                      <a:pt x="299" y="214"/>
                      <a:pt x="299" y="214"/>
                      <a:pt x="299" y="214"/>
                    </a:cubicBezTo>
                    <a:cubicBezTo>
                      <a:pt x="299" y="214"/>
                      <a:pt x="299" y="214"/>
                      <a:pt x="299" y="214"/>
                    </a:cubicBezTo>
                    <a:moveTo>
                      <a:pt x="2" y="14"/>
                    </a:moveTo>
                    <a:cubicBezTo>
                      <a:pt x="25" y="134"/>
                      <a:pt x="130" y="219"/>
                      <a:pt x="249" y="219"/>
                    </a:cubicBezTo>
                    <a:cubicBezTo>
                      <a:pt x="130" y="219"/>
                      <a:pt x="25" y="134"/>
                      <a:pt x="2" y="14"/>
                    </a:cubicBezTo>
                    <a:moveTo>
                      <a:pt x="2" y="11"/>
                    </a:moveTo>
                    <a:cubicBezTo>
                      <a:pt x="2" y="11"/>
                      <a:pt x="2" y="12"/>
                      <a:pt x="2" y="12"/>
                    </a:cubicBezTo>
                    <a:cubicBezTo>
                      <a:pt x="2" y="12"/>
                      <a:pt x="2" y="11"/>
                      <a:pt x="2" y="11"/>
                    </a:cubicBezTo>
                    <a:moveTo>
                      <a:pt x="1" y="9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9"/>
                    </a:cubicBezTo>
                    <a:moveTo>
                      <a:pt x="0" y="4"/>
                    </a:moveTo>
                    <a:cubicBezTo>
                      <a:pt x="1" y="5"/>
                      <a:pt x="1" y="7"/>
                      <a:pt x="1" y="9"/>
                    </a:cubicBezTo>
                    <a:cubicBezTo>
                      <a:pt x="1" y="7"/>
                      <a:pt x="1" y="5"/>
                      <a:pt x="0" y="4"/>
                    </a:cubicBezTo>
                    <a:moveTo>
                      <a:pt x="0" y="2"/>
                    </a:moveTo>
                    <a:cubicBezTo>
                      <a:pt x="0" y="3"/>
                      <a:pt x="0" y="3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moveTo>
                      <a:pt x="0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9AE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5" name="Freeform 3197"/>
              <p:cNvSpPr>
                <a:spLocks noEditPoints="1"/>
              </p:cNvSpPr>
              <p:nvPr userDrawn="1"/>
            </p:nvSpPr>
            <p:spPr bwMode="auto">
              <a:xfrm>
                <a:off x="5217633" y="783941"/>
                <a:ext cx="835964" cy="614916"/>
              </a:xfrm>
              <a:custGeom>
                <a:avLst/>
                <a:gdLst>
                  <a:gd name="T0" fmla="*/ 362 w 456"/>
                  <a:gd name="T1" fmla="*/ 267 h 336"/>
                  <a:gd name="T2" fmla="*/ 397 w 456"/>
                  <a:gd name="T3" fmla="*/ 291 h 336"/>
                  <a:gd name="T4" fmla="*/ 44 w 456"/>
                  <a:gd name="T5" fmla="*/ 200 h 336"/>
                  <a:gd name="T6" fmla="*/ 364 w 456"/>
                  <a:gd name="T7" fmla="*/ 310 h 336"/>
                  <a:gd name="T8" fmla="*/ 334 w 456"/>
                  <a:gd name="T9" fmla="*/ 271 h 336"/>
                  <a:gd name="T10" fmla="*/ 152 w 456"/>
                  <a:gd name="T11" fmla="*/ 225 h 336"/>
                  <a:gd name="T12" fmla="*/ 7 w 456"/>
                  <a:gd name="T13" fmla="*/ 33 h 336"/>
                  <a:gd name="T14" fmla="*/ 4 w 456"/>
                  <a:gd name="T15" fmla="*/ 117 h 336"/>
                  <a:gd name="T16" fmla="*/ 4 w 456"/>
                  <a:gd name="T17" fmla="*/ 118 h 336"/>
                  <a:gd name="T18" fmla="*/ 4 w 456"/>
                  <a:gd name="T19" fmla="*/ 119 h 336"/>
                  <a:gd name="T20" fmla="*/ 4 w 456"/>
                  <a:gd name="T21" fmla="*/ 121 h 336"/>
                  <a:gd name="T22" fmla="*/ 5 w 456"/>
                  <a:gd name="T23" fmla="*/ 126 h 336"/>
                  <a:gd name="T24" fmla="*/ 5 w 456"/>
                  <a:gd name="T25" fmla="*/ 127 h 336"/>
                  <a:gd name="T26" fmla="*/ 6 w 456"/>
                  <a:gd name="T27" fmla="*/ 128 h 336"/>
                  <a:gd name="T28" fmla="*/ 6 w 456"/>
                  <a:gd name="T29" fmla="*/ 131 h 336"/>
                  <a:gd name="T30" fmla="*/ 253 w 456"/>
                  <a:gd name="T31" fmla="*/ 336 h 336"/>
                  <a:gd name="T32" fmla="*/ 297 w 456"/>
                  <a:gd name="T33" fmla="*/ 332 h 336"/>
                  <a:gd name="T34" fmla="*/ 298 w 456"/>
                  <a:gd name="T35" fmla="*/ 332 h 336"/>
                  <a:gd name="T36" fmla="*/ 298 w 456"/>
                  <a:gd name="T37" fmla="*/ 332 h 336"/>
                  <a:gd name="T38" fmla="*/ 299 w 456"/>
                  <a:gd name="T39" fmla="*/ 331 h 336"/>
                  <a:gd name="T40" fmla="*/ 300 w 456"/>
                  <a:gd name="T41" fmla="*/ 331 h 336"/>
                  <a:gd name="T42" fmla="*/ 301 w 456"/>
                  <a:gd name="T43" fmla="*/ 331 h 336"/>
                  <a:gd name="T44" fmla="*/ 301 w 456"/>
                  <a:gd name="T45" fmla="*/ 331 h 336"/>
                  <a:gd name="T46" fmla="*/ 302 w 456"/>
                  <a:gd name="T47" fmla="*/ 331 h 336"/>
                  <a:gd name="T48" fmla="*/ 303 w 456"/>
                  <a:gd name="T49" fmla="*/ 331 h 336"/>
                  <a:gd name="T50" fmla="*/ 35 w 456"/>
                  <a:gd name="T51" fmla="*/ 208 h 336"/>
                  <a:gd name="T52" fmla="*/ 113 w 456"/>
                  <a:gd name="T53" fmla="*/ 192 h 336"/>
                  <a:gd name="T54" fmla="*/ 55 w 456"/>
                  <a:gd name="T55" fmla="*/ 123 h 336"/>
                  <a:gd name="T56" fmla="*/ 49 w 456"/>
                  <a:gd name="T57" fmla="*/ 113 h 336"/>
                  <a:gd name="T58" fmla="*/ 32 w 456"/>
                  <a:gd name="T59" fmla="*/ 103 h 336"/>
                  <a:gd name="T60" fmla="*/ 22 w 456"/>
                  <a:gd name="T61" fmla="*/ 37 h 336"/>
                  <a:gd name="T62" fmla="*/ 16 w 456"/>
                  <a:gd name="T63" fmla="*/ 0 h 336"/>
                  <a:gd name="T64" fmla="*/ 17 w 456"/>
                  <a:gd name="T65" fmla="*/ 9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6" h="336">
                    <a:moveTo>
                      <a:pt x="456" y="234"/>
                    </a:moveTo>
                    <a:cubicBezTo>
                      <a:pt x="427" y="250"/>
                      <a:pt x="395" y="261"/>
                      <a:pt x="362" y="267"/>
                    </a:cubicBezTo>
                    <a:cubicBezTo>
                      <a:pt x="359" y="268"/>
                      <a:pt x="356" y="268"/>
                      <a:pt x="353" y="269"/>
                    </a:cubicBezTo>
                    <a:cubicBezTo>
                      <a:pt x="368" y="275"/>
                      <a:pt x="382" y="283"/>
                      <a:pt x="397" y="291"/>
                    </a:cubicBezTo>
                    <a:cubicBezTo>
                      <a:pt x="419" y="275"/>
                      <a:pt x="439" y="256"/>
                      <a:pt x="456" y="234"/>
                    </a:cubicBezTo>
                    <a:moveTo>
                      <a:pt x="44" y="200"/>
                    </a:moveTo>
                    <a:cubicBezTo>
                      <a:pt x="90" y="237"/>
                      <a:pt x="157" y="254"/>
                      <a:pt x="209" y="269"/>
                    </a:cubicBezTo>
                    <a:cubicBezTo>
                      <a:pt x="260" y="283"/>
                      <a:pt x="314" y="293"/>
                      <a:pt x="364" y="310"/>
                    </a:cubicBezTo>
                    <a:cubicBezTo>
                      <a:pt x="374" y="305"/>
                      <a:pt x="383" y="300"/>
                      <a:pt x="392" y="294"/>
                    </a:cubicBezTo>
                    <a:cubicBezTo>
                      <a:pt x="373" y="285"/>
                      <a:pt x="354" y="278"/>
                      <a:pt x="334" y="271"/>
                    </a:cubicBezTo>
                    <a:cubicBezTo>
                      <a:pt x="326" y="271"/>
                      <a:pt x="319" y="272"/>
                      <a:pt x="311" y="272"/>
                    </a:cubicBezTo>
                    <a:cubicBezTo>
                      <a:pt x="255" y="272"/>
                      <a:pt x="200" y="256"/>
                      <a:pt x="152" y="225"/>
                    </a:cubicBezTo>
                    <a:cubicBezTo>
                      <a:pt x="116" y="218"/>
                      <a:pt x="79" y="211"/>
                      <a:pt x="44" y="200"/>
                    </a:cubicBezTo>
                    <a:moveTo>
                      <a:pt x="7" y="33"/>
                    </a:moveTo>
                    <a:cubicBezTo>
                      <a:pt x="1" y="60"/>
                      <a:pt x="0" y="88"/>
                      <a:pt x="4" y="117"/>
                    </a:cubicBezTo>
                    <a:cubicBezTo>
                      <a:pt x="4" y="117"/>
                      <a:pt x="4" y="117"/>
                      <a:pt x="4" y="117"/>
                    </a:cubicBezTo>
                    <a:cubicBezTo>
                      <a:pt x="4" y="117"/>
                      <a:pt x="4" y="117"/>
                      <a:pt x="4" y="118"/>
                    </a:cubicBezTo>
                    <a:cubicBezTo>
                      <a:pt x="4" y="118"/>
                      <a:pt x="4" y="118"/>
                      <a:pt x="4" y="118"/>
                    </a:cubicBezTo>
                    <a:cubicBezTo>
                      <a:pt x="4" y="118"/>
                      <a:pt x="4" y="118"/>
                      <a:pt x="4" y="118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4" y="120"/>
                      <a:pt x="4" y="120"/>
                      <a:pt x="4" y="121"/>
                    </a:cubicBezTo>
                    <a:cubicBezTo>
                      <a:pt x="4" y="121"/>
                      <a:pt x="4" y="121"/>
                      <a:pt x="4" y="121"/>
                    </a:cubicBezTo>
                    <a:cubicBezTo>
                      <a:pt x="5" y="122"/>
                      <a:pt x="5" y="124"/>
                      <a:pt x="5" y="126"/>
                    </a:cubicBezTo>
                    <a:cubicBezTo>
                      <a:pt x="5" y="126"/>
                      <a:pt x="5" y="126"/>
                      <a:pt x="5" y="126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6" y="127"/>
                      <a:pt x="6" y="128"/>
                      <a:pt x="6" y="128"/>
                    </a:cubicBezTo>
                    <a:cubicBezTo>
                      <a:pt x="6" y="128"/>
                      <a:pt x="6" y="129"/>
                      <a:pt x="6" y="129"/>
                    </a:cubicBezTo>
                    <a:cubicBezTo>
                      <a:pt x="6" y="130"/>
                      <a:pt x="6" y="130"/>
                      <a:pt x="6" y="131"/>
                    </a:cubicBezTo>
                    <a:cubicBezTo>
                      <a:pt x="29" y="251"/>
                      <a:pt x="134" y="336"/>
                      <a:pt x="253" y="336"/>
                    </a:cubicBezTo>
                    <a:cubicBezTo>
                      <a:pt x="253" y="336"/>
                      <a:pt x="253" y="336"/>
                      <a:pt x="253" y="336"/>
                    </a:cubicBezTo>
                    <a:cubicBezTo>
                      <a:pt x="253" y="336"/>
                      <a:pt x="253" y="336"/>
                      <a:pt x="253" y="336"/>
                    </a:cubicBezTo>
                    <a:cubicBezTo>
                      <a:pt x="268" y="336"/>
                      <a:pt x="282" y="334"/>
                      <a:pt x="297" y="332"/>
                    </a:cubicBezTo>
                    <a:cubicBezTo>
                      <a:pt x="297" y="332"/>
                      <a:pt x="297" y="332"/>
                      <a:pt x="297" y="332"/>
                    </a:cubicBezTo>
                    <a:cubicBezTo>
                      <a:pt x="297" y="332"/>
                      <a:pt x="297" y="332"/>
                      <a:pt x="298" y="332"/>
                    </a:cubicBezTo>
                    <a:cubicBezTo>
                      <a:pt x="298" y="332"/>
                      <a:pt x="298" y="332"/>
                      <a:pt x="298" y="332"/>
                    </a:cubicBezTo>
                    <a:cubicBezTo>
                      <a:pt x="298" y="332"/>
                      <a:pt x="298" y="332"/>
                      <a:pt x="298" y="332"/>
                    </a:cubicBezTo>
                    <a:cubicBezTo>
                      <a:pt x="299" y="332"/>
                      <a:pt x="299" y="332"/>
                      <a:pt x="299" y="332"/>
                    </a:cubicBezTo>
                    <a:cubicBezTo>
                      <a:pt x="299" y="331"/>
                      <a:pt x="299" y="331"/>
                      <a:pt x="299" y="331"/>
                    </a:cubicBezTo>
                    <a:cubicBezTo>
                      <a:pt x="299" y="331"/>
                      <a:pt x="300" y="331"/>
                      <a:pt x="300" y="331"/>
                    </a:cubicBezTo>
                    <a:cubicBezTo>
                      <a:pt x="300" y="331"/>
                      <a:pt x="300" y="331"/>
                      <a:pt x="300" y="331"/>
                    </a:cubicBezTo>
                    <a:cubicBezTo>
                      <a:pt x="300" y="331"/>
                      <a:pt x="300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2" y="331"/>
                      <a:pt x="302" y="331"/>
                      <a:pt x="302" y="331"/>
                    </a:cubicBezTo>
                    <a:cubicBezTo>
                      <a:pt x="302" y="331"/>
                      <a:pt x="302" y="331"/>
                      <a:pt x="302" y="331"/>
                    </a:cubicBezTo>
                    <a:cubicBezTo>
                      <a:pt x="302" y="331"/>
                      <a:pt x="303" y="331"/>
                      <a:pt x="303" y="331"/>
                    </a:cubicBezTo>
                    <a:cubicBezTo>
                      <a:pt x="303" y="331"/>
                      <a:pt x="303" y="331"/>
                      <a:pt x="303" y="331"/>
                    </a:cubicBezTo>
                    <a:cubicBezTo>
                      <a:pt x="313" y="329"/>
                      <a:pt x="323" y="326"/>
                      <a:pt x="333" y="323"/>
                    </a:cubicBezTo>
                    <a:cubicBezTo>
                      <a:pt x="229" y="293"/>
                      <a:pt x="123" y="269"/>
                      <a:pt x="35" y="208"/>
                    </a:cubicBezTo>
                    <a:cubicBezTo>
                      <a:pt x="27" y="196"/>
                      <a:pt x="21" y="182"/>
                      <a:pt x="16" y="168"/>
                    </a:cubicBezTo>
                    <a:cubicBezTo>
                      <a:pt x="48" y="175"/>
                      <a:pt x="81" y="183"/>
                      <a:pt x="113" y="192"/>
                    </a:cubicBezTo>
                    <a:cubicBezTo>
                      <a:pt x="104" y="183"/>
                      <a:pt x="95" y="175"/>
                      <a:pt x="86" y="167"/>
                    </a:cubicBezTo>
                    <a:cubicBezTo>
                      <a:pt x="74" y="153"/>
                      <a:pt x="64" y="138"/>
                      <a:pt x="55" y="123"/>
                    </a:cubicBezTo>
                    <a:cubicBezTo>
                      <a:pt x="54" y="123"/>
                      <a:pt x="54" y="123"/>
                      <a:pt x="53" y="123"/>
                    </a:cubicBezTo>
                    <a:cubicBezTo>
                      <a:pt x="49" y="121"/>
                      <a:pt x="48" y="117"/>
                      <a:pt x="49" y="113"/>
                    </a:cubicBezTo>
                    <a:cubicBezTo>
                      <a:pt x="48" y="111"/>
                      <a:pt x="47" y="109"/>
                      <a:pt x="47" y="108"/>
                    </a:cubicBezTo>
                    <a:cubicBezTo>
                      <a:pt x="42" y="106"/>
                      <a:pt x="37" y="104"/>
                      <a:pt x="32" y="103"/>
                    </a:cubicBezTo>
                    <a:cubicBezTo>
                      <a:pt x="21" y="99"/>
                      <a:pt x="25" y="83"/>
                      <a:pt x="35" y="82"/>
                    </a:cubicBezTo>
                    <a:cubicBezTo>
                      <a:pt x="30" y="68"/>
                      <a:pt x="25" y="53"/>
                      <a:pt x="22" y="37"/>
                    </a:cubicBezTo>
                    <a:cubicBezTo>
                      <a:pt x="17" y="36"/>
                      <a:pt x="12" y="35"/>
                      <a:pt x="7" y="33"/>
                    </a:cubicBezTo>
                    <a:moveTo>
                      <a:pt x="16" y="0"/>
                    </a:moveTo>
                    <a:cubicBezTo>
                      <a:pt x="15" y="3"/>
                      <a:pt x="14" y="5"/>
                      <a:pt x="13" y="8"/>
                    </a:cubicBezTo>
                    <a:cubicBezTo>
                      <a:pt x="15" y="8"/>
                      <a:pt x="16" y="8"/>
                      <a:pt x="17" y="9"/>
                    </a:cubicBezTo>
                    <a:cubicBezTo>
                      <a:pt x="17" y="6"/>
                      <a:pt x="16" y="3"/>
                      <a:pt x="16" y="0"/>
                    </a:cubicBezTo>
                  </a:path>
                </a:pathLst>
              </a:custGeom>
              <a:solidFill>
                <a:srgbClr val="ADA4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6" name="Freeform 3198"/>
              <p:cNvSpPr/>
              <p:nvPr userDrawn="1"/>
            </p:nvSpPr>
            <p:spPr bwMode="auto">
              <a:xfrm>
                <a:off x="5231030" y="798677"/>
                <a:ext cx="26794" cy="52248"/>
              </a:xfrm>
              <a:custGeom>
                <a:avLst/>
                <a:gdLst>
                  <a:gd name="T0" fmla="*/ 6 w 15"/>
                  <a:gd name="T1" fmla="*/ 0 h 29"/>
                  <a:gd name="T2" fmla="*/ 0 w 15"/>
                  <a:gd name="T3" fmla="*/ 25 h 29"/>
                  <a:gd name="T4" fmla="*/ 15 w 15"/>
                  <a:gd name="T5" fmla="*/ 29 h 29"/>
                  <a:gd name="T6" fmla="*/ 13 w 15"/>
                  <a:gd name="T7" fmla="*/ 19 h 29"/>
                  <a:gd name="T8" fmla="*/ 12 w 15"/>
                  <a:gd name="T9" fmla="*/ 15 h 29"/>
                  <a:gd name="T10" fmla="*/ 10 w 15"/>
                  <a:gd name="T11" fmla="*/ 1 h 29"/>
                  <a:gd name="T12" fmla="*/ 6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6" y="0"/>
                    </a:moveTo>
                    <a:cubicBezTo>
                      <a:pt x="4" y="8"/>
                      <a:pt x="2" y="17"/>
                      <a:pt x="0" y="25"/>
                    </a:cubicBezTo>
                    <a:cubicBezTo>
                      <a:pt x="5" y="27"/>
                      <a:pt x="10" y="28"/>
                      <a:pt x="15" y="29"/>
                    </a:cubicBezTo>
                    <a:cubicBezTo>
                      <a:pt x="14" y="26"/>
                      <a:pt x="14" y="22"/>
                      <a:pt x="13" y="19"/>
                    </a:cubicBezTo>
                    <a:cubicBezTo>
                      <a:pt x="13" y="18"/>
                      <a:pt x="12" y="16"/>
                      <a:pt x="12" y="15"/>
                    </a:cubicBezTo>
                    <a:cubicBezTo>
                      <a:pt x="11" y="10"/>
                      <a:pt x="11" y="5"/>
                      <a:pt x="10" y="1"/>
                    </a:cubicBezTo>
                    <a:cubicBezTo>
                      <a:pt x="9" y="0"/>
                      <a:pt x="8" y="0"/>
                      <a:pt x="6" y="0"/>
                    </a:cubicBezTo>
                  </a:path>
                </a:pathLst>
              </a:custGeom>
              <a:solidFill>
                <a:srgbClr val="AA8E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7" name="Freeform 3199"/>
              <p:cNvSpPr/>
              <p:nvPr userDrawn="1"/>
            </p:nvSpPr>
            <p:spPr bwMode="auto">
              <a:xfrm>
                <a:off x="5256484" y="933985"/>
                <a:ext cx="48229" cy="46889"/>
              </a:xfrm>
              <a:custGeom>
                <a:avLst/>
                <a:gdLst>
                  <a:gd name="T0" fmla="*/ 14 w 26"/>
                  <a:gd name="T1" fmla="*/ 0 h 26"/>
                  <a:gd name="T2" fmla="*/ 11 w 26"/>
                  <a:gd name="T3" fmla="*/ 21 h 26"/>
                  <a:gd name="T4" fmla="*/ 26 w 26"/>
                  <a:gd name="T5" fmla="*/ 26 h 26"/>
                  <a:gd name="T6" fmla="*/ 14 w 26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cubicBezTo>
                      <a:pt x="4" y="1"/>
                      <a:pt x="0" y="17"/>
                      <a:pt x="11" y="21"/>
                    </a:cubicBezTo>
                    <a:cubicBezTo>
                      <a:pt x="16" y="22"/>
                      <a:pt x="21" y="24"/>
                      <a:pt x="26" y="26"/>
                    </a:cubicBezTo>
                    <a:cubicBezTo>
                      <a:pt x="21" y="17"/>
                      <a:pt x="18" y="9"/>
                      <a:pt x="14" y="0"/>
                    </a:cubicBezTo>
                  </a:path>
                </a:pathLst>
              </a:custGeom>
              <a:solidFill>
                <a:srgbClr val="AA8E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8" name="Freeform 3200"/>
              <p:cNvSpPr/>
              <p:nvPr userDrawn="1"/>
            </p:nvSpPr>
            <p:spPr bwMode="auto">
              <a:xfrm>
                <a:off x="5306053" y="990252"/>
                <a:ext cx="13397" cy="18756"/>
              </a:xfrm>
              <a:custGeom>
                <a:avLst/>
                <a:gdLst>
                  <a:gd name="T0" fmla="*/ 1 w 7"/>
                  <a:gd name="T1" fmla="*/ 0 h 10"/>
                  <a:gd name="T2" fmla="*/ 5 w 7"/>
                  <a:gd name="T3" fmla="*/ 10 h 10"/>
                  <a:gd name="T4" fmla="*/ 7 w 7"/>
                  <a:gd name="T5" fmla="*/ 10 h 10"/>
                  <a:gd name="T6" fmla="*/ 1 w 7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0">
                    <a:moveTo>
                      <a:pt x="1" y="0"/>
                    </a:moveTo>
                    <a:cubicBezTo>
                      <a:pt x="0" y="4"/>
                      <a:pt x="1" y="8"/>
                      <a:pt x="5" y="10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5" y="7"/>
                      <a:pt x="3" y="3"/>
                      <a:pt x="1" y="0"/>
                    </a:cubicBezTo>
                  </a:path>
                </a:pathLst>
              </a:custGeom>
              <a:solidFill>
                <a:srgbClr val="B09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89" name="Freeform 3201"/>
              <p:cNvSpPr>
                <a:spLocks noEditPoints="1"/>
              </p:cNvSpPr>
              <p:nvPr userDrawn="1"/>
            </p:nvSpPr>
            <p:spPr bwMode="auto">
              <a:xfrm>
                <a:off x="5247106" y="1090729"/>
                <a:ext cx="699316" cy="284013"/>
              </a:xfrm>
              <a:custGeom>
                <a:avLst/>
                <a:gdLst>
                  <a:gd name="T0" fmla="*/ 337 w 381"/>
                  <a:gd name="T1" fmla="*/ 101 h 155"/>
                  <a:gd name="T2" fmla="*/ 318 w 381"/>
                  <a:gd name="T3" fmla="*/ 103 h 155"/>
                  <a:gd name="T4" fmla="*/ 376 w 381"/>
                  <a:gd name="T5" fmla="*/ 126 h 155"/>
                  <a:gd name="T6" fmla="*/ 381 w 381"/>
                  <a:gd name="T7" fmla="*/ 123 h 155"/>
                  <a:gd name="T8" fmla="*/ 337 w 381"/>
                  <a:gd name="T9" fmla="*/ 101 h 155"/>
                  <a:gd name="T10" fmla="*/ 0 w 381"/>
                  <a:gd name="T11" fmla="*/ 0 h 155"/>
                  <a:gd name="T12" fmla="*/ 19 w 381"/>
                  <a:gd name="T13" fmla="*/ 40 h 155"/>
                  <a:gd name="T14" fmla="*/ 317 w 381"/>
                  <a:gd name="T15" fmla="*/ 155 h 155"/>
                  <a:gd name="T16" fmla="*/ 348 w 381"/>
                  <a:gd name="T17" fmla="*/ 142 h 155"/>
                  <a:gd name="T18" fmla="*/ 193 w 381"/>
                  <a:gd name="T19" fmla="*/ 101 h 155"/>
                  <a:gd name="T20" fmla="*/ 28 w 381"/>
                  <a:gd name="T21" fmla="*/ 32 h 155"/>
                  <a:gd name="T22" fmla="*/ 136 w 381"/>
                  <a:gd name="T23" fmla="*/ 57 h 155"/>
                  <a:gd name="T24" fmla="*/ 125 w 381"/>
                  <a:gd name="T25" fmla="*/ 50 h 155"/>
                  <a:gd name="T26" fmla="*/ 97 w 381"/>
                  <a:gd name="T27" fmla="*/ 24 h 155"/>
                  <a:gd name="T28" fmla="*/ 0 w 381"/>
                  <a:gd name="T29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1" h="155">
                    <a:moveTo>
                      <a:pt x="337" y="101"/>
                    </a:moveTo>
                    <a:cubicBezTo>
                      <a:pt x="331" y="102"/>
                      <a:pt x="324" y="102"/>
                      <a:pt x="318" y="103"/>
                    </a:cubicBezTo>
                    <a:cubicBezTo>
                      <a:pt x="338" y="110"/>
                      <a:pt x="357" y="117"/>
                      <a:pt x="376" y="126"/>
                    </a:cubicBezTo>
                    <a:cubicBezTo>
                      <a:pt x="378" y="125"/>
                      <a:pt x="379" y="124"/>
                      <a:pt x="381" y="123"/>
                    </a:cubicBezTo>
                    <a:cubicBezTo>
                      <a:pt x="366" y="115"/>
                      <a:pt x="352" y="107"/>
                      <a:pt x="337" y="101"/>
                    </a:cubicBezTo>
                    <a:moveTo>
                      <a:pt x="0" y="0"/>
                    </a:moveTo>
                    <a:cubicBezTo>
                      <a:pt x="5" y="14"/>
                      <a:pt x="11" y="28"/>
                      <a:pt x="19" y="40"/>
                    </a:cubicBezTo>
                    <a:cubicBezTo>
                      <a:pt x="107" y="101"/>
                      <a:pt x="213" y="125"/>
                      <a:pt x="317" y="155"/>
                    </a:cubicBezTo>
                    <a:cubicBezTo>
                      <a:pt x="328" y="151"/>
                      <a:pt x="338" y="147"/>
                      <a:pt x="348" y="142"/>
                    </a:cubicBezTo>
                    <a:cubicBezTo>
                      <a:pt x="298" y="125"/>
                      <a:pt x="244" y="115"/>
                      <a:pt x="193" y="101"/>
                    </a:cubicBezTo>
                    <a:cubicBezTo>
                      <a:pt x="141" y="86"/>
                      <a:pt x="74" y="69"/>
                      <a:pt x="28" y="32"/>
                    </a:cubicBezTo>
                    <a:cubicBezTo>
                      <a:pt x="63" y="43"/>
                      <a:pt x="100" y="50"/>
                      <a:pt x="136" y="57"/>
                    </a:cubicBezTo>
                    <a:cubicBezTo>
                      <a:pt x="132" y="55"/>
                      <a:pt x="129" y="52"/>
                      <a:pt x="125" y="50"/>
                    </a:cubicBezTo>
                    <a:cubicBezTo>
                      <a:pt x="116" y="41"/>
                      <a:pt x="106" y="32"/>
                      <a:pt x="97" y="24"/>
                    </a:cubicBezTo>
                    <a:cubicBezTo>
                      <a:pt x="65" y="15"/>
                      <a:pt x="32" y="7"/>
                      <a:pt x="0" y="0"/>
                    </a:cubicBezTo>
                  </a:path>
                </a:pathLst>
              </a:custGeom>
              <a:solidFill>
                <a:srgbClr val="A296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0" name="Oval 3202"/>
              <p:cNvSpPr>
                <a:spLocks noChangeArrowheads="1"/>
              </p:cNvSpPr>
              <p:nvPr userDrawn="1"/>
            </p:nvSpPr>
            <p:spPr bwMode="auto">
              <a:xfrm>
                <a:off x="693514" y="613800"/>
                <a:ext cx="499703" cy="497023"/>
              </a:xfrm>
              <a:prstGeom prst="ellipse">
                <a:avLst/>
              </a:pr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1" name="Freeform 3203"/>
              <p:cNvSpPr/>
              <p:nvPr userDrawn="1"/>
            </p:nvSpPr>
            <p:spPr bwMode="auto">
              <a:xfrm>
                <a:off x="693514" y="774563"/>
                <a:ext cx="405925" cy="336261"/>
              </a:xfrm>
              <a:custGeom>
                <a:avLst/>
                <a:gdLst>
                  <a:gd name="T0" fmla="*/ 8 w 221"/>
                  <a:gd name="T1" fmla="*/ 0 h 184"/>
                  <a:gd name="T2" fmla="*/ 176 w 221"/>
                  <a:gd name="T3" fmla="*/ 161 h 184"/>
                  <a:gd name="T4" fmla="*/ 221 w 221"/>
                  <a:gd name="T5" fmla="*/ 154 h 184"/>
                  <a:gd name="T6" fmla="*/ 136 w 221"/>
                  <a:gd name="T7" fmla="*/ 184 h 184"/>
                  <a:gd name="T8" fmla="*/ 0 w 221"/>
                  <a:gd name="T9" fmla="*/ 48 h 184"/>
                  <a:gd name="T10" fmla="*/ 8 w 221"/>
                  <a:gd name="T1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1" h="184">
                    <a:moveTo>
                      <a:pt x="8" y="0"/>
                    </a:moveTo>
                    <a:cubicBezTo>
                      <a:pt x="13" y="88"/>
                      <a:pt x="87" y="161"/>
                      <a:pt x="176" y="161"/>
                    </a:cubicBezTo>
                    <a:cubicBezTo>
                      <a:pt x="192" y="161"/>
                      <a:pt x="207" y="159"/>
                      <a:pt x="221" y="154"/>
                    </a:cubicBezTo>
                    <a:cubicBezTo>
                      <a:pt x="198" y="173"/>
                      <a:pt x="168" y="184"/>
                      <a:pt x="136" y="184"/>
                    </a:cubicBezTo>
                    <a:cubicBezTo>
                      <a:pt x="61" y="184"/>
                      <a:pt x="0" y="123"/>
                      <a:pt x="0" y="48"/>
                    </a:cubicBezTo>
                    <a:cubicBezTo>
                      <a:pt x="0" y="31"/>
                      <a:pt x="3" y="15"/>
                      <a:pt x="8" y="0"/>
                    </a:cubicBezTo>
                    <a:close/>
                  </a:path>
                </a:pathLst>
              </a:custGeom>
              <a:solidFill>
                <a:srgbClr val="6595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2" name="Oval 3204"/>
              <p:cNvSpPr>
                <a:spLocks noChangeArrowheads="1"/>
              </p:cNvSpPr>
              <p:nvPr userDrawn="1"/>
            </p:nvSpPr>
            <p:spPr bwMode="auto">
              <a:xfrm>
                <a:off x="7023530" y="587007"/>
                <a:ext cx="271956" cy="271956"/>
              </a:xfrm>
              <a:prstGeom prst="ellipse">
                <a:avLst/>
              </a:prstGeom>
              <a:solidFill>
                <a:srgbClr val="2A4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3" name="Freeform 3205"/>
              <p:cNvSpPr/>
              <p:nvPr userDrawn="1"/>
            </p:nvSpPr>
            <p:spPr bwMode="auto">
              <a:xfrm>
                <a:off x="7059701" y="625858"/>
                <a:ext cx="235785" cy="97797"/>
              </a:xfrm>
              <a:custGeom>
                <a:avLst/>
                <a:gdLst>
                  <a:gd name="T0" fmla="*/ 2 w 128"/>
                  <a:gd name="T1" fmla="*/ 0 h 53"/>
                  <a:gd name="T2" fmla="*/ 0 w 128"/>
                  <a:gd name="T3" fmla="*/ 2 h 53"/>
                  <a:gd name="T4" fmla="*/ 128 w 128"/>
                  <a:gd name="T5" fmla="*/ 53 h 53"/>
                  <a:gd name="T6" fmla="*/ 128 w 128"/>
                  <a:gd name="T7" fmla="*/ 53 h 53"/>
                  <a:gd name="T8" fmla="*/ 128 w 128"/>
                  <a:gd name="T9" fmla="*/ 51 h 53"/>
                  <a:gd name="T10" fmla="*/ 2 w 128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53">
                    <a:moveTo>
                      <a:pt x="2" y="0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39" y="28"/>
                      <a:pt x="82" y="46"/>
                      <a:pt x="128" y="53"/>
                    </a:cubicBezTo>
                    <a:cubicBezTo>
                      <a:pt x="128" y="53"/>
                      <a:pt x="128" y="53"/>
                      <a:pt x="128" y="53"/>
                    </a:cubicBezTo>
                    <a:cubicBezTo>
                      <a:pt x="128" y="52"/>
                      <a:pt x="128" y="52"/>
                      <a:pt x="128" y="51"/>
                    </a:cubicBezTo>
                    <a:cubicBezTo>
                      <a:pt x="83" y="43"/>
                      <a:pt x="41" y="24"/>
                      <a:pt x="2" y="0"/>
                    </a:cubicBezTo>
                  </a:path>
                </a:pathLst>
              </a:custGeom>
              <a:solidFill>
                <a:srgbClr val="223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4" name="Freeform 3206"/>
              <p:cNvSpPr/>
              <p:nvPr userDrawn="1"/>
            </p:nvSpPr>
            <p:spPr bwMode="auto">
              <a:xfrm>
                <a:off x="7034247" y="680785"/>
                <a:ext cx="222388" cy="91099"/>
              </a:xfrm>
              <a:custGeom>
                <a:avLst/>
                <a:gdLst>
                  <a:gd name="T0" fmla="*/ 3 w 121"/>
                  <a:gd name="T1" fmla="*/ 0 h 50"/>
                  <a:gd name="T2" fmla="*/ 2 w 121"/>
                  <a:gd name="T3" fmla="*/ 5 h 50"/>
                  <a:gd name="T4" fmla="*/ 119 w 121"/>
                  <a:gd name="T5" fmla="*/ 50 h 50"/>
                  <a:gd name="T6" fmla="*/ 119 w 121"/>
                  <a:gd name="T7" fmla="*/ 50 h 50"/>
                  <a:gd name="T8" fmla="*/ 120 w 121"/>
                  <a:gd name="T9" fmla="*/ 48 h 50"/>
                  <a:gd name="T10" fmla="*/ 5 w 121"/>
                  <a:gd name="T11" fmla="*/ 0 h 50"/>
                  <a:gd name="T12" fmla="*/ 3 w 121"/>
                  <a:gd name="T13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50">
                    <a:moveTo>
                      <a:pt x="3" y="0"/>
                    </a:moveTo>
                    <a:cubicBezTo>
                      <a:pt x="1" y="0"/>
                      <a:pt x="0" y="3"/>
                      <a:pt x="2" y="5"/>
                    </a:cubicBezTo>
                    <a:cubicBezTo>
                      <a:pt x="38" y="25"/>
                      <a:pt x="78" y="43"/>
                      <a:pt x="119" y="50"/>
                    </a:cubicBezTo>
                    <a:cubicBezTo>
                      <a:pt x="119" y="50"/>
                      <a:pt x="119" y="50"/>
                      <a:pt x="119" y="50"/>
                    </a:cubicBezTo>
                    <a:cubicBezTo>
                      <a:pt x="120" y="50"/>
                      <a:pt x="121" y="48"/>
                      <a:pt x="120" y="48"/>
                    </a:cubicBezTo>
                    <a:cubicBezTo>
                      <a:pt x="79" y="38"/>
                      <a:pt x="42" y="18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223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5" name="Freeform 3207"/>
              <p:cNvSpPr/>
              <p:nvPr userDrawn="1"/>
            </p:nvSpPr>
            <p:spPr bwMode="auto">
              <a:xfrm>
                <a:off x="7136064" y="628537"/>
                <a:ext cx="152724" cy="56267"/>
              </a:xfrm>
              <a:custGeom>
                <a:avLst/>
                <a:gdLst>
                  <a:gd name="T0" fmla="*/ 2 w 84"/>
                  <a:gd name="T1" fmla="*/ 0 h 31"/>
                  <a:gd name="T2" fmla="*/ 2 w 84"/>
                  <a:gd name="T3" fmla="*/ 4 h 31"/>
                  <a:gd name="T4" fmla="*/ 84 w 84"/>
                  <a:gd name="T5" fmla="*/ 31 h 31"/>
                  <a:gd name="T6" fmla="*/ 83 w 84"/>
                  <a:gd name="T7" fmla="*/ 29 h 31"/>
                  <a:gd name="T8" fmla="*/ 3 w 84"/>
                  <a:gd name="T9" fmla="*/ 1 h 31"/>
                  <a:gd name="T10" fmla="*/ 2 w 84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1">
                    <a:moveTo>
                      <a:pt x="2" y="0"/>
                    </a:moveTo>
                    <a:cubicBezTo>
                      <a:pt x="0" y="0"/>
                      <a:pt x="0" y="3"/>
                      <a:pt x="2" y="4"/>
                    </a:cubicBezTo>
                    <a:cubicBezTo>
                      <a:pt x="28" y="16"/>
                      <a:pt x="55" y="27"/>
                      <a:pt x="84" y="31"/>
                    </a:cubicBezTo>
                    <a:cubicBezTo>
                      <a:pt x="84" y="31"/>
                      <a:pt x="83" y="30"/>
                      <a:pt x="83" y="29"/>
                    </a:cubicBezTo>
                    <a:cubicBezTo>
                      <a:pt x="55" y="23"/>
                      <a:pt x="30" y="1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6" name="Freeform 3208"/>
              <p:cNvSpPr/>
              <p:nvPr userDrawn="1"/>
            </p:nvSpPr>
            <p:spPr bwMode="auto">
              <a:xfrm>
                <a:off x="7086495" y="671407"/>
                <a:ext cx="208991" cy="64305"/>
              </a:xfrm>
              <a:custGeom>
                <a:avLst/>
                <a:gdLst>
                  <a:gd name="T0" fmla="*/ 2 w 114"/>
                  <a:gd name="T1" fmla="*/ 0 h 35"/>
                  <a:gd name="T2" fmla="*/ 2 w 114"/>
                  <a:gd name="T3" fmla="*/ 3 h 35"/>
                  <a:gd name="T4" fmla="*/ 114 w 114"/>
                  <a:gd name="T5" fmla="*/ 35 h 35"/>
                  <a:gd name="T6" fmla="*/ 114 w 114"/>
                  <a:gd name="T7" fmla="*/ 34 h 35"/>
                  <a:gd name="T8" fmla="*/ 3 w 114"/>
                  <a:gd name="T9" fmla="*/ 0 h 35"/>
                  <a:gd name="T10" fmla="*/ 2 w 114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35">
                    <a:moveTo>
                      <a:pt x="2" y="0"/>
                    </a:moveTo>
                    <a:cubicBezTo>
                      <a:pt x="1" y="0"/>
                      <a:pt x="0" y="2"/>
                      <a:pt x="2" y="3"/>
                    </a:cubicBezTo>
                    <a:cubicBezTo>
                      <a:pt x="36" y="19"/>
                      <a:pt x="74" y="35"/>
                      <a:pt x="114" y="35"/>
                    </a:cubicBezTo>
                    <a:cubicBezTo>
                      <a:pt x="114" y="35"/>
                      <a:pt x="114" y="34"/>
                      <a:pt x="114" y="34"/>
                    </a:cubicBezTo>
                    <a:cubicBezTo>
                      <a:pt x="75" y="33"/>
                      <a:pt x="38" y="16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7" name="Freeform 3209"/>
              <p:cNvSpPr/>
              <p:nvPr userDrawn="1"/>
            </p:nvSpPr>
            <p:spPr bwMode="auto">
              <a:xfrm>
                <a:off x="7023530" y="716956"/>
                <a:ext cx="168800" cy="69664"/>
              </a:xfrm>
              <a:custGeom>
                <a:avLst/>
                <a:gdLst>
                  <a:gd name="T0" fmla="*/ 0 w 92"/>
                  <a:gd name="T1" fmla="*/ 0 h 38"/>
                  <a:gd name="T2" fmla="*/ 0 w 92"/>
                  <a:gd name="T3" fmla="*/ 3 h 38"/>
                  <a:gd name="T4" fmla="*/ 0 w 92"/>
                  <a:gd name="T5" fmla="*/ 4 h 38"/>
                  <a:gd name="T6" fmla="*/ 90 w 92"/>
                  <a:gd name="T7" fmla="*/ 38 h 38"/>
                  <a:gd name="T8" fmla="*/ 90 w 92"/>
                  <a:gd name="T9" fmla="*/ 38 h 38"/>
                  <a:gd name="T10" fmla="*/ 91 w 92"/>
                  <a:gd name="T11" fmla="*/ 36 h 38"/>
                  <a:gd name="T12" fmla="*/ 0 w 92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8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28" y="19"/>
                      <a:pt x="58" y="32"/>
                      <a:pt x="90" y="38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92" y="38"/>
                      <a:pt x="92" y="36"/>
                      <a:pt x="91" y="36"/>
                    </a:cubicBezTo>
                    <a:cubicBezTo>
                      <a:pt x="59" y="28"/>
                      <a:pt x="29" y="15"/>
                      <a:pt x="0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698" name="Freeform 3210"/>
              <p:cNvSpPr/>
              <p:nvPr userDrawn="1"/>
            </p:nvSpPr>
            <p:spPr bwMode="auto">
              <a:xfrm>
                <a:off x="7023530" y="662029"/>
                <a:ext cx="223728" cy="196934"/>
              </a:xfrm>
              <a:custGeom>
                <a:avLst/>
                <a:gdLst>
                  <a:gd name="T0" fmla="*/ 8 w 122"/>
                  <a:gd name="T1" fmla="*/ 0 h 107"/>
                  <a:gd name="T2" fmla="*/ 8 w 122"/>
                  <a:gd name="T3" fmla="*/ 3 h 107"/>
                  <a:gd name="T4" fmla="*/ 97 w 122"/>
                  <a:gd name="T5" fmla="*/ 93 h 107"/>
                  <a:gd name="T6" fmla="*/ 122 w 122"/>
                  <a:gd name="T7" fmla="*/ 89 h 107"/>
                  <a:gd name="T8" fmla="*/ 74 w 122"/>
                  <a:gd name="T9" fmla="*/ 107 h 107"/>
                  <a:gd name="T10" fmla="*/ 0 w 122"/>
                  <a:gd name="T11" fmla="*/ 33 h 107"/>
                  <a:gd name="T12" fmla="*/ 8 w 122"/>
                  <a:gd name="T13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07">
                    <a:moveTo>
                      <a:pt x="8" y="0"/>
                    </a:moveTo>
                    <a:cubicBezTo>
                      <a:pt x="8" y="1"/>
                      <a:pt x="8" y="2"/>
                      <a:pt x="8" y="3"/>
                    </a:cubicBezTo>
                    <a:cubicBezTo>
                      <a:pt x="8" y="52"/>
                      <a:pt x="48" y="93"/>
                      <a:pt x="97" y="93"/>
                    </a:cubicBezTo>
                    <a:cubicBezTo>
                      <a:pt x="106" y="93"/>
                      <a:pt x="114" y="91"/>
                      <a:pt x="122" y="89"/>
                    </a:cubicBezTo>
                    <a:cubicBezTo>
                      <a:pt x="109" y="100"/>
                      <a:pt x="92" y="107"/>
                      <a:pt x="74" y="107"/>
                    </a:cubicBezTo>
                    <a:cubicBezTo>
                      <a:pt x="33" y="107"/>
                      <a:pt x="0" y="74"/>
                      <a:pt x="0" y="33"/>
                    </a:cubicBezTo>
                    <a:cubicBezTo>
                      <a:pt x="0" y="21"/>
                      <a:pt x="3" y="10"/>
                      <a:pt x="8" y="0"/>
                    </a:cubicBezTo>
                    <a:close/>
                  </a:path>
                </a:pathLst>
              </a:custGeom>
              <a:solidFill>
                <a:srgbClr val="203A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00" name="Freeform 3212"/>
              <p:cNvSpPr/>
              <p:nvPr userDrawn="1"/>
            </p:nvSpPr>
            <p:spPr bwMode="auto">
              <a:xfrm>
                <a:off x="6505071" y="1749854"/>
                <a:ext cx="146026" cy="137988"/>
              </a:xfrm>
              <a:custGeom>
                <a:avLst/>
                <a:gdLst>
                  <a:gd name="T0" fmla="*/ 55 w 109"/>
                  <a:gd name="T1" fmla="*/ 0 h 103"/>
                  <a:gd name="T2" fmla="*/ 68 w 109"/>
                  <a:gd name="T3" fmla="*/ 40 h 103"/>
                  <a:gd name="T4" fmla="*/ 109 w 109"/>
                  <a:gd name="T5" fmla="*/ 40 h 103"/>
                  <a:gd name="T6" fmla="*/ 76 w 109"/>
                  <a:gd name="T7" fmla="*/ 63 h 103"/>
                  <a:gd name="T8" fmla="*/ 89 w 109"/>
                  <a:gd name="T9" fmla="*/ 103 h 103"/>
                  <a:gd name="T10" fmla="*/ 55 w 109"/>
                  <a:gd name="T11" fmla="*/ 78 h 103"/>
                  <a:gd name="T12" fmla="*/ 22 w 109"/>
                  <a:gd name="T13" fmla="*/ 103 h 103"/>
                  <a:gd name="T14" fmla="*/ 34 w 109"/>
                  <a:gd name="T15" fmla="*/ 63 h 103"/>
                  <a:gd name="T16" fmla="*/ 0 w 109"/>
                  <a:gd name="T17" fmla="*/ 40 h 103"/>
                  <a:gd name="T18" fmla="*/ 42 w 109"/>
                  <a:gd name="T19" fmla="*/ 40 h 103"/>
                  <a:gd name="T20" fmla="*/ 55 w 109"/>
                  <a:gd name="T2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3">
                    <a:moveTo>
                      <a:pt x="55" y="0"/>
                    </a:moveTo>
                    <a:lnTo>
                      <a:pt x="68" y="40"/>
                    </a:lnTo>
                    <a:lnTo>
                      <a:pt x="109" y="40"/>
                    </a:lnTo>
                    <a:lnTo>
                      <a:pt x="76" y="63"/>
                    </a:lnTo>
                    <a:lnTo>
                      <a:pt x="89" y="103"/>
                    </a:lnTo>
                    <a:lnTo>
                      <a:pt x="55" y="78"/>
                    </a:lnTo>
                    <a:lnTo>
                      <a:pt x="22" y="103"/>
                    </a:lnTo>
                    <a:lnTo>
                      <a:pt x="34" y="63"/>
                    </a:lnTo>
                    <a:lnTo>
                      <a:pt x="0" y="40"/>
                    </a:lnTo>
                    <a:lnTo>
                      <a:pt x="42" y="40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01" name="Freeform 3213"/>
              <p:cNvSpPr/>
              <p:nvPr userDrawn="1"/>
            </p:nvSpPr>
            <p:spPr bwMode="auto">
              <a:xfrm>
                <a:off x="4259758" y="347203"/>
                <a:ext cx="146026" cy="142007"/>
              </a:xfrm>
              <a:custGeom>
                <a:avLst/>
                <a:gdLst>
                  <a:gd name="T0" fmla="*/ 54 w 109"/>
                  <a:gd name="T1" fmla="*/ 0 h 106"/>
                  <a:gd name="T2" fmla="*/ 68 w 109"/>
                  <a:gd name="T3" fmla="*/ 41 h 106"/>
                  <a:gd name="T4" fmla="*/ 109 w 109"/>
                  <a:gd name="T5" fmla="*/ 41 h 106"/>
                  <a:gd name="T6" fmla="*/ 76 w 109"/>
                  <a:gd name="T7" fmla="*/ 66 h 106"/>
                  <a:gd name="T8" fmla="*/ 89 w 109"/>
                  <a:gd name="T9" fmla="*/ 106 h 106"/>
                  <a:gd name="T10" fmla="*/ 54 w 109"/>
                  <a:gd name="T11" fmla="*/ 81 h 106"/>
                  <a:gd name="T12" fmla="*/ 20 w 109"/>
                  <a:gd name="T13" fmla="*/ 106 h 106"/>
                  <a:gd name="T14" fmla="*/ 34 w 109"/>
                  <a:gd name="T15" fmla="*/ 66 h 106"/>
                  <a:gd name="T16" fmla="*/ 0 w 109"/>
                  <a:gd name="T17" fmla="*/ 41 h 106"/>
                  <a:gd name="T18" fmla="*/ 42 w 109"/>
                  <a:gd name="T19" fmla="*/ 41 h 106"/>
                  <a:gd name="T20" fmla="*/ 54 w 109"/>
                  <a:gd name="T21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6">
                    <a:moveTo>
                      <a:pt x="54" y="0"/>
                    </a:moveTo>
                    <a:lnTo>
                      <a:pt x="68" y="41"/>
                    </a:lnTo>
                    <a:lnTo>
                      <a:pt x="109" y="41"/>
                    </a:lnTo>
                    <a:lnTo>
                      <a:pt x="76" y="66"/>
                    </a:lnTo>
                    <a:lnTo>
                      <a:pt x="89" y="106"/>
                    </a:lnTo>
                    <a:lnTo>
                      <a:pt x="54" y="81"/>
                    </a:lnTo>
                    <a:lnTo>
                      <a:pt x="20" y="106"/>
                    </a:lnTo>
                    <a:lnTo>
                      <a:pt x="34" y="66"/>
                    </a:lnTo>
                    <a:lnTo>
                      <a:pt x="0" y="41"/>
                    </a:lnTo>
                    <a:lnTo>
                      <a:pt x="42" y="4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02" name="Freeform 3214"/>
              <p:cNvSpPr/>
              <p:nvPr userDrawn="1"/>
            </p:nvSpPr>
            <p:spPr bwMode="auto">
              <a:xfrm>
                <a:off x="4259758" y="2774714"/>
                <a:ext cx="146026" cy="140667"/>
              </a:xfrm>
              <a:custGeom>
                <a:avLst/>
                <a:gdLst>
                  <a:gd name="T0" fmla="*/ 54 w 109"/>
                  <a:gd name="T1" fmla="*/ 0 h 105"/>
                  <a:gd name="T2" fmla="*/ 68 w 109"/>
                  <a:gd name="T3" fmla="*/ 39 h 105"/>
                  <a:gd name="T4" fmla="*/ 109 w 109"/>
                  <a:gd name="T5" fmla="*/ 39 h 105"/>
                  <a:gd name="T6" fmla="*/ 76 w 109"/>
                  <a:gd name="T7" fmla="*/ 64 h 105"/>
                  <a:gd name="T8" fmla="*/ 89 w 109"/>
                  <a:gd name="T9" fmla="*/ 105 h 105"/>
                  <a:gd name="T10" fmla="*/ 54 w 109"/>
                  <a:gd name="T11" fmla="*/ 80 h 105"/>
                  <a:gd name="T12" fmla="*/ 20 w 109"/>
                  <a:gd name="T13" fmla="*/ 105 h 105"/>
                  <a:gd name="T14" fmla="*/ 34 w 109"/>
                  <a:gd name="T15" fmla="*/ 64 h 105"/>
                  <a:gd name="T16" fmla="*/ 0 w 109"/>
                  <a:gd name="T17" fmla="*/ 39 h 105"/>
                  <a:gd name="T18" fmla="*/ 42 w 109"/>
                  <a:gd name="T19" fmla="*/ 39 h 105"/>
                  <a:gd name="T20" fmla="*/ 54 w 109"/>
                  <a:gd name="T21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5">
                    <a:moveTo>
                      <a:pt x="54" y="0"/>
                    </a:moveTo>
                    <a:lnTo>
                      <a:pt x="68" y="39"/>
                    </a:lnTo>
                    <a:lnTo>
                      <a:pt x="109" y="39"/>
                    </a:lnTo>
                    <a:lnTo>
                      <a:pt x="76" y="64"/>
                    </a:lnTo>
                    <a:lnTo>
                      <a:pt x="89" y="105"/>
                    </a:lnTo>
                    <a:lnTo>
                      <a:pt x="54" y="80"/>
                    </a:lnTo>
                    <a:lnTo>
                      <a:pt x="20" y="105"/>
                    </a:lnTo>
                    <a:lnTo>
                      <a:pt x="34" y="64"/>
                    </a:lnTo>
                    <a:lnTo>
                      <a:pt x="0" y="39"/>
                    </a:lnTo>
                    <a:lnTo>
                      <a:pt x="42" y="39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08" name="Freeform 3220"/>
              <p:cNvSpPr/>
              <p:nvPr userDrawn="1"/>
            </p:nvSpPr>
            <p:spPr bwMode="auto">
              <a:xfrm>
                <a:off x="7465626" y="1847651"/>
                <a:ext cx="120572" cy="121911"/>
              </a:xfrm>
              <a:custGeom>
                <a:avLst/>
                <a:gdLst>
                  <a:gd name="T0" fmla="*/ 38 w 90"/>
                  <a:gd name="T1" fmla="*/ 40 h 91"/>
                  <a:gd name="T2" fmla="*/ 45 w 90"/>
                  <a:gd name="T3" fmla="*/ 0 h 91"/>
                  <a:gd name="T4" fmla="*/ 50 w 90"/>
                  <a:gd name="T5" fmla="*/ 40 h 91"/>
                  <a:gd name="T6" fmla="*/ 90 w 90"/>
                  <a:gd name="T7" fmla="*/ 46 h 91"/>
                  <a:gd name="T8" fmla="*/ 50 w 90"/>
                  <a:gd name="T9" fmla="*/ 52 h 91"/>
                  <a:gd name="T10" fmla="*/ 45 w 90"/>
                  <a:gd name="T11" fmla="*/ 91 h 91"/>
                  <a:gd name="T12" fmla="*/ 38 w 90"/>
                  <a:gd name="T13" fmla="*/ 52 h 91"/>
                  <a:gd name="T14" fmla="*/ 0 w 90"/>
                  <a:gd name="T15" fmla="*/ 45 h 91"/>
                  <a:gd name="T16" fmla="*/ 38 w 90"/>
                  <a:gd name="T17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1">
                    <a:moveTo>
                      <a:pt x="38" y="40"/>
                    </a:moveTo>
                    <a:lnTo>
                      <a:pt x="45" y="0"/>
                    </a:lnTo>
                    <a:lnTo>
                      <a:pt x="50" y="40"/>
                    </a:lnTo>
                    <a:lnTo>
                      <a:pt x="90" y="46"/>
                    </a:lnTo>
                    <a:lnTo>
                      <a:pt x="50" y="52"/>
                    </a:lnTo>
                    <a:lnTo>
                      <a:pt x="45" y="91"/>
                    </a:lnTo>
                    <a:lnTo>
                      <a:pt x="38" y="52"/>
                    </a:lnTo>
                    <a:lnTo>
                      <a:pt x="0" y="45"/>
                    </a:lnTo>
                    <a:lnTo>
                      <a:pt x="38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09" name="Freeform 3221"/>
              <p:cNvSpPr/>
              <p:nvPr userDrawn="1"/>
            </p:nvSpPr>
            <p:spPr bwMode="auto">
              <a:xfrm>
                <a:off x="6389858" y="2904"/>
                <a:ext cx="120572" cy="121911"/>
              </a:xfrm>
              <a:custGeom>
                <a:avLst/>
                <a:gdLst>
                  <a:gd name="T0" fmla="*/ 39 w 90"/>
                  <a:gd name="T1" fmla="*/ 39 h 91"/>
                  <a:gd name="T2" fmla="*/ 46 w 90"/>
                  <a:gd name="T3" fmla="*/ 0 h 91"/>
                  <a:gd name="T4" fmla="*/ 52 w 90"/>
                  <a:gd name="T5" fmla="*/ 39 h 91"/>
                  <a:gd name="T6" fmla="*/ 90 w 90"/>
                  <a:gd name="T7" fmla="*/ 45 h 91"/>
                  <a:gd name="T8" fmla="*/ 52 w 90"/>
                  <a:gd name="T9" fmla="*/ 51 h 91"/>
                  <a:gd name="T10" fmla="*/ 45 w 90"/>
                  <a:gd name="T11" fmla="*/ 91 h 91"/>
                  <a:gd name="T12" fmla="*/ 39 w 90"/>
                  <a:gd name="T13" fmla="*/ 51 h 91"/>
                  <a:gd name="T14" fmla="*/ 0 w 90"/>
                  <a:gd name="T15" fmla="*/ 44 h 91"/>
                  <a:gd name="T16" fmla="*/ 39 w 90"/>
                  <a:gd name="T17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1">
                    <a:moveTo>
                      <a:pt x="39" y="39"/>
                    </a:moveTo>
                    <a:lnTo>
                      <a:pt x="46" y="0"/>
                    </a:lnTo>
                    <a:lnTo>
                      <a:pt x="52" y="39"/>
                    </a:lnTo>
                    <a:lnTo>
                      <a:pt x="90" y="45"/>
                    </a:lnTo>
                    <a:lnTo>
                      <a:pt x="52" y="51"/>
                    </a:lnTo>
                    <a:lnTo>
                      <a:pt x="45" y="91"/>
                    </a:lnTo>
                    <a:lnTo>
                      <a:pt x="39" y="51"/>
                    </a:lnTo>
                    <a:lnTo>
                      <a:pt x="0" y="44"/>
                    </a:lnTo>
                    <a:lnTo>
                      <a:pt x="3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10" name="Freeform 3222"/>
              <p:cNvSpPr/>
              <p:nvPr userDrawn="1"/>
            </p:nvSpPr>
            <p:spPr bwMode="auto">
              <a:xfrm>
                <a:off x="6818558" y="3511541"/>
                <a:ext cx="120572" cy="123251"/>
              </a:xfrm>
              <a:custGeom>
                <a:avLst/>
                <a:gdLst>
                  <a:gd name="T0" fmla="*/ 38 w 90"/>
                  <a:gd name="T1" fmla="*/ 40 h 92"/>
                  <a:gd name="T2" fmla="*/ 45 w 90"/>
                  <a:gd name="T3" fmla="*/ 0 h 92"/>
                  <a:gd name="T4" fmla="*/ 50 w 90"/>
                  <a:gd name="T5" fmla="*/ 40 h 92"/>
                  <a:gd name="T6" fmla="*/ 90 w 90"/>
                  <a:gd name="T7" fmla="*/ 47 h 92"/>
                  <a:gd name="T8" fmla="*/ 50 w 90"/>
                  <a:gd name="T9" fmla="*/ 52 h 92"/>
                  <a:gd name="T10" fmla="*/ 45 w 90"/>
                  <a:gd name="T11" fmla="*/ 92 h 92"/>
                  <a:gd name="T12" fmla="*/ 38 w 90"/>
                  <a:gd name="T13" fmla="*/ 52 h 92"/>
                  <a:gd name="T14" fmla="*/ 0 w 90"/>
                  <a:gd name="T15" fmla="*/ 46 h 92"/>
                  <a:gd name="T16" fmla="*/ 38 w 90"/>
                  <a:gd name="T17" fmla="*/ 4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2">
                    <a:moveTo>
                      <a:pt x="38" y="40"/>
                    </a:moveTo>
                    <a:lnTo>
                      <a:pt x="45" y="0"/>
                    </a:lnTo>
                    <a:lnTo>
                      <a:pt x="50" y="40"/>
                    </a:lnTo>
                    <a:lnTo>
                      <a:pt x="90" y="47"/>
                    </a:lnTo>
                    <a:lnTo>
                      <a:pt x="50" y="52"/>
                    </a:lnTo>
                    <a:lnTo>
                      <a:pt x="45" y="92"/>
                    </a:lnTo>
                    <a:lnTo>
                      <a:pt x="38" y="52"/>
                    </a:lnTo>
                    <a:lnTo>
                      <a:pt x="0" y="46"/>
                    </a:lnTo>
                    <a:lnTo>
                      <a:pt x="38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11" name="Freeform 3223"/>
              <p:cNvSpPr/>
              <p:nvPr userDrawn="1"/>
            </p:nvSpPr>
            <p:spPr bwMode="auto">
              <a:xfrm>
                <a:off x="5035436" y="1543542"/>
                <a:ext cx="120572" cy="120572"/>
              </a:xfrm>
              <a:custGeom>
                <a:avLst/>
                <a:gdLst>
                  <a:gd name="T0" fmla="*/ 39 w 90"/>
                  <a:gd name="T1" fmla="*/ 38 h 90"/>
                  <a:gd name="T2" fmla="*/ 45 w 90"/>
                  <a:gd name="T3" fmla="*/ 0 h 90"/>
                  <a:gd name="T4" fmla="*/ 51 w 90"/>
                  <a:gd name="T5" fmla="*/ 40 h 90"/>
                  <a:gd name="T6" fmla="*/ 90 w 90"/>
                  <a:gd name="T7" fmla="*/ 45 h 90"/>
                  <a:gd name="T8" fmla="*/ 51 w 90"/>
                  <a:gd name="T9" fmla="*/ 51 h 90"/>
                  <a:gd name="T10" fmla="*/ 45 w 90"/>
                  <a:gd name="T11" fmla="*/ 90 h 90"/>
                  <a:gd name="T12" fmla="*/ 39 w 90"/>
                  <a:gd name="T13" fmla="*/ 51 h 90"/>
                  <a:gd name="T14" fmla="*/ 0 w 90"/>
                  <a:gd name="T15" fmla="*/ 45 h 90"/>
                  <a:gd name="T16" fmla="*/ 39 w 90"/>
                  <a:gd name="T17" fmla="*/ 3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0">
                    <a:moveTo>
                      <a:pt x="39" y="38"/>
                    </a:moveTo>
                    <a:lnTo>
                      <a:pt x="45" y="0"/>
                    </a:lnTo>
                    <a:lnTo>
                      <a:pt x="51" y="40"/>
                    </a:lnTo>
                    <a:lnTo>
                      <a:pt x="90" y="45"/>
                    </a:lnTo>
                    <a:lnTo>
                      <a:pt x="51" y="51"/>
                    </a:lnTo>
                    <a:lnTo>
                      <a:pt x="45" y="90"/>
                    </a:lnTo>
                    <a:lnTo>
                      <a:pt x="39" y="51"/>
                    </a:lnTo>
                    <a:lnTo>
                      <a:pt x="0" y="45"/>
                    </a:lnTo>
                    <a:lnTo>
                      <a:pt x="3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12" name="Freeform 3224"/>
              <p:cNvSpPr/>
              <p:nvPr userDrawn="1"/>
            </p:nvSpPr>
            <p:spPr bwMode="auto">
              <a:xfrm>
                <a:off x="5401170" y="1633301"/>
                <a:ext cx="251861" cy="250521"/>
              </a:xfrm>
              <a:custGeom>
                <a:avLst/>
                <a:gdLst>
                  <a:gd name="T0" fmla="*/ 81 w 188"/>
                  <a:gd name="T1" fmla="*/ 81 h 187"/>
                  <a:gd name="T2" fmla="*/ 95 w 188"/>
                  <a:gd name="T3" fmla="*/ 0 h 187"/>
                  <a:gd name="T4" fmla="*/ 107 w 188"/>
                  <a:gd name="T5" fmla="*/ 81 h 187"/>
                  <a:gd name="T6" fmla="*/ 188 w 188"/>
                  <a:gd name="T7" fmla="*/ 94 h 187"/>
                  <a:gd name="T8" fmla="*/ 107 w 188"/>
                  <a:gd name="T9" fmla="*/ 107 h 187"/>
                  <a:gd name="T10" fmla="*/ 93 w 188"/>
                  <a:gd name="T11" fmla="*/ 187 h 187"/>
                  <a:gd name="T12" fmla="*/ 81 w 188"/>
                  <a:gd name="T13" fmla="*/ 107 h 187"/>
                  <a:gd name="T14" fmla="*/ 0 w 188"/>
                  <a:gd name="T15" fmla="*/ 93 h 187"/>
                  <a:gd name="T16" fmla="*/ 81 w 188"/>
                  <a:gd name="T17" fmla="*/ 81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87">
                    <a:moveTo>
                      <a:pt x="81" y="81"/>
                    </a:moveTo>
                    <a:lnTo>
                      <a:pt x="95" y="0"/>
                    </a:lnTo>
                    <a:lnTo>
                      <a:pt x="107" y="81"/>
                    </a:lnTo>
                    <a:lnTo>
                      <a:pt x="188" y="94"/>
                    </a:lnTo>
                    <a:lnTo>
                      <a:pt x="107" y="107"/>
                    </a:lnTo>
                    <a:lnTo>
                      <a:pt x="93" y="187"/>
                    </a:lnTo>
                    <a:lnTo>
                      <a:pt x="81" y="107"/>
                    </a:lnTo>
                    <a:lnTo>
                      <a:pt x="0" y="93"/>
                    </a:lnTo>
                    <a:lnTo>
                      <a:pt x="81" y="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13" name="Oval 3225"/>
              <p:cNvSpPr>
                <a:spLocks noChangeArrowheads="1"/>
              </p:cNvSpPr>
              <p:nvPr userDrawn="1"/>
            </p:nvSpPr>
            <p:spPr bwMode="auto">
              <a:xfrm>
                <a:off x="5217633" y="2506777"/>
                <a:ext cx="57606" cy="56267"/>
              </a:xfrm>
              <a:prstGeom prst="ellipse">
                <a:avLst/>
              </a:prstGeom>
              <a:solidFill>
                <a:srgbClr val="347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717" name="Oval 3229"/>
              <p:cNvSpPr>
                <a:spLocks noChangeArrowheads="1"/>
              </p:cNvSpPr>
              <p:nvPr userDrawn="1"/>
            </p:nvSpPr>
            <p:spPr bwMode="auto">
              <a:xfrm>
                <a:off x="6845352" y="2268312"/>
                <a:ext cx="57606" cy="57606"/>
              </a:xfrm>
              <a:prstGeom prst="ellipse">
                <a:avLst/>
              </a:prstGeom>
              <a:solidFill>
                <a:srgbClr val="347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</p:grpSp>
      <p:grpSp>
        <p:nvGrpSpPr>
          <p:cNvPr id="12903" name="组合 12902"/>
          <p:cNvGrpSpPr/>
          <p:nvPr userDrawn="1"/>
        </p:nvGrpSpPr>
        <p:grpSpPr>
          <a:xfrm>
            <a:off x="7469645" y="2112196"/>
            <a:ext cx="4729188" cy="4740092"/>
            <a:chOff x="7469645" y="2112196"/>
            <a:chExt cx="4729188" cy="4740092"/>
          </a:xfrm>
        </p:grpSpPr>
        <p:sp>
          <p:nvSpPr>
            <p:cNvPr id="12642" name="Oval 3154"/>
            <p:cNvSpPr>
              <a:spLocks noChangeArrowheads="1"/>
            </p:cNvSpPr>
            <p:nvPr userDrawn="1"/>
          </p:nvSpPr>
          <p:spPr bwMode="auto">
            <a:xfrm>
              <a:off x="7469645" y="5041462"/>
              <a:ext cx="521138" cy="521138"/>
            </a:xfrm>
            <a:prstGeom prst="ellipse">
              <a:avLst/>
            </a:prstGeom>
            <a:solidFill>
              <a:srgbClr val="D35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3" name="Freeform 3155"/>
            <p:cNvSpPr>
              <a:spLocks noEditPoints="1"/>
            </p:cNvSpPr>
            <p:nvPr userDrawn="1"/>
          </p:nvSpPr>
          <p:spPr bwMode="auto">
            <a:xfrm>
              <a:off x="7793849" y="5237056"/>
              <a:ext cx="184877" cy="207651"/>
            </a:xfrm>
            <a:custGeom>
              <a:avLst/>
              <a:gdLst>
                <a:gd name="T0" fmla="*/ 76 w 101"/>
                <a:gd name="T1" fmla="*/ 95 h 113"/>
                <a:gd name="T2" fmla="*/ 71 w 101"/>
                <a:gd name="T3" fmla="*/ 89 h 113"/>
                <a:gd name="T4" fmla="*/ 67 w 101"/>
                <a:gd name="T5" fmla="*/ 82 h 113"/>
                <a:gd name="T6" fmla="*/ 71 w 101"/>
                <a:gd name="T7" fmla="*/ 88 h 113"/>
                <a:gd name="T8" fmla="*/ 76 w 101"/>
                <a:gd name="T9" fmla="*/ 95 h 113"/>
                <a:gd name="T10" fmla="*/ 36 w 101"/>
                <a:gd name="T11" fmla="*/ 16 h 113"/>
                <a:gd name="T12" fmla="*/ 44 w 101"/>
                <a:gd name="T13" fmla="*/ 13 h 113"/>
                <a:gd name="T14" fmla="*/ 49 w 101"/>
                <a:gd name="T15" fmla="*/ 14 h 113"/>
                <a:gd name="T16" fmla="*/ 56 w 101"/>
                <a:gd name="T17" fmla="*/ 22 h 113"/>
                <a:gd name="T18" fmla="*/ 58 w 101"/>
                <a:gd name="T19" fmla="*/ 26 h 113"/>
                <a:gd name="T20" fmla="*/ 58 w 101"/>
                <a:gd name="T21" fmla="*/ 29 h 113"/>
                <a:gd name="T22" fmla="*/ 58 w 101"/>
                <a:gd name="T23" fmla="*/ 30 h 113"/>
                <a:gd name="T24" fmla="*/ 58 w 101"/>
                <a:gd name="T25" fmla="*/ 35 h 113"/>
                <a:gd name="T26" fmla="*/ 56 w 101"/>
                <a:gd name="T27" fmla="*/ 45 h 113"/>
                <a:gd name="T28" fmla="*/ 49 w 101"/>
                <a:gd name="T29" fmla="*/ 48 h 113"/>
                <a:gd name="T30" fmla="*/ 44 w 101"/>
                <a:gd name="T31" fmla="*/ 46 h 113"/>
                <a:gd name="T32" fmla="*/ 41 w 101"/>
                <a:gd name="T33" fmla="*/ 44 h 113"/>
                <a:gd name="T34" fmla="*/ 41 w 101"/>
                <a:gd name="T35" fmla="*/ 44 h 113"/>
                <a:gd name="T36" fmla="*/ 31 w 101"/>
                <a:gd name="T37" fmla="*/ 49 h 113"/>
                <a:gd name="T38" fmla="*/ 28 w 101"/>
                <a:gd name="T39" fmla="*/ 49 h 113"/>
                <a:gd name="T40" fmla="*/ 20 w 101"/>
                <a:gd name="T41" fmla="*/ 38 h 113"/>
                <a:gd name="T42" fmla="*/ 23 w 101"/>
                <a:gd name="T43" fmla="*/ 29 h 113"/>
                <a:gd name="T44" fmla="*/ 23 w 101"/>
                <a:gd name="T45" fmla="*/ 29 h 113"/>
                <a:gd name="T46" fmla="*/ 26 w 101"/>
                <a:gd name="T47" fmla="*/ 24 h 113"/>
                <a:gd name="T48" fmla="*/ 31 w 101"/>
                <a:gd name="T49" fmla="*/ 18 h 113"/>
                <a:gd name="T50" fmla="*/ 36 w 101"/>
                <a:gd name="T51" fmla="*/ 16 h 113"/>
                <a:gd name="T52" fmla="*/ 46 w 101"/>
                <a:gd name="T53" fmla="*/ 0 h 113"/>
                <a:gd name="T54" fmla="*/ 15 w 101"/>
                <a:gd name="T55" fmla="*/ 16 h 113"/>
                <a:gd name="T56" fmla="*/ 29 w 101"/>
                <a:gd name="T57" fmla="*/ 60 h 113"/>
                <a:gd name="T58" fmla="*/ 47 w 101"/>
                <a:gd name="T59" fmla="*/ 80 h 113"/>
                <a:gd name="T60" fmla="*/ 51 w 101"/>
                <a:gd name="T61" fmla="*/ 91 h 113"/>
                <a:gd name="T62" fmla="*/ 86 w 101"/>
                <a:gd name="T63" fmla="*/ 113 h 113"/>
                <a:gd name="T64" fmla="*/ 88 w 101"/>
                <a:gd name="T65" fmla="*/ 109 h 113"/>
                <a:gd name="T66" fmla="*/ 78 w 101"/>
                <a:gd name="T67" fmla="*/ 96 h 113"/>
                <a:gd name="T68" fmla="*/ 90 w 101"/>
                <a:gd name="T69" fmla="*/ 105 h 113"/>
                <a:gd name="T70" fmla="*/ 101 w 101"/>
                <a:gd name="T71" fmla="*/ 82 h 113"/>
                <a:gd name="T72" fmla="*/ 84 w 101"/>
                <a:gd name="T73" fmla="*/ 62 h 113"/>
                <a:gd name="T74" fmla="*/ 80 w 101"/>
                <a:gd name="T75" fmla="*/ 48 h 113"/>
                <a:gd name="T76" fmla="*/ 67 w 101"/>
                <a:gd name="T77" fmla="*/ 15 h 113"/>
                <a:gd name="T78" fmla="*/ 46 w 101"/>
                <a:gd name="T7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1" h="113">
                  <a:moveTo>
                    <a:pt x="76" y="95"/>
                  </a:moveTo>
                  <a:cubicBezTo>
                    <a:pt x="74" y="93"/>
                    <a:pt x="72" y="91"/>
                    <a:pt x="71" y="89"/>
                  </a:cubicBezTo>
                  <a:cubicBezTo>
                    <a:pt x="68" y="87"/>
                    <a:pt x="67" y="85"/>
                    <a:pt x="67" y="82"/>
                  </a:cubicBezTo>
                  <a:cubicBezTo>
                    <a:pt x="68" y="84"/>
                    <a:pt x="69" y="86"/>
                    <a:pt x="71" y="88"/>
                  </a:cubicBezTo>
                  <a:cubicBezTo>
                    <a:pt x="72" y="90"/>
                    <a:pt x="74" y="93"/>
                    <a:pt x="76" y="95"/>
                  </a:cubicBezTo>
                  <a:moveTo>
                    <a:pt x="36" y="16"/>
                  </a:moveTo>
                  <a:cubicBezTo>
                    <a:pt x="38" y="14"/>
                    <a:pt x="41" y="13"/>
                    <a:pt x="44" y="13"/>
                  </a:cubicBezTo>
                  <a:cubicBezTo>
                    <a:pt x="46" y="13"/>
                    <a:pt x="48" y="13"/>
                    <a:pt x="49" y="14"/>
                  </a:cubicBezTo>
                  <a:cubicBezTo>
                    <a:pt x="52" y="16"/>
                    <a:pt x="55" y="18"/>
                    <a:pt x="56" y="22"/>
                  </a:cubicBezTo>
                  <a:cubicBezTo>
                    <a:pt x="57" y="23"/>
                    <a:pt x="57" y="25"/>
                    <a:pt x="58" y="26"/>
                  </a:cubicBezTo>
                  <a:cubicBezTo>
                    <a:pt x="58" y="27"/>
                    <a:pt x="58" y="28"/>
                    <a:pt x="58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32"/>
                    <a:pt x="59" y="33"/>
                    <a:pt x="58" y="35"/>
                  </a:cubicBezTo>
                  <a:cubicBezTo>
                    <a:pt x="59" y="38"/>
                    <a:pt x="59" y="42"/>
                    <a:pt x="56" y="45"/>
                  </a:cubicBezTo>
                  <a:cubicBezTo>
                    <a:pt x="54" y="47"/>
                    <a:pt x="52" y="48"/>
                    <a:pt x="49" y="48"/>
                  </a:cubicBezTo>
                  <a:cubicBezTo>
                    <a:pt x="47" y="48"/>
                    <a:pt x="46" y="47"/>
                    <a:pt x="44" y="46"/>
                  </a:cubicBezTo>
                  <a:cubicBezTo>
                    <a:pt x="43" y="45"/>
                    <a:pt x="42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39" y="48"/>
                    <a:pt x="35" y="49"/>
                    <a:pt x="31" y="49"/>
                  </a:cubicBezTo>
                  <a:cubicBezTo>
                    <a:pt x="30" y="49"/>
                    <a:pt x="29" y="49"/>
                    <a:pt x="28" y="49"/>
                  </a:cubicBezTo>
                  <a:cubicBezTo>
                    <a:pt x="24" y="48"/>
                    <a:pt x="19" y="43"/>
                    <a:pt x="20" y="38"/>
                  </a:cubicBezTo>
                  <a:cubicBezTo>
                    <a:pt x="21" y="35"/>
                    <a:pt x="21" y="32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7"/>
                    <a:pt x="24" y="25"/>
                    <a:pt x="26" y="24"/>
                  </a:cubicBezTo>
                  <a:cubicBezTo>
                    <a:pt x="27" y="21"/>
                    <a:pt x="29" y="19"/>
                    <a:pt x="31" y="18"/>
                  </a:cubicBezTo>
                  <a:cubicBezTo>
                    <a:pt x="33" y="17"/>
                    <a:pt x="34" y="16"/>
                    <a:pt x="36" y="16"/>
                  </a:cubicBezTo>
                  <a:moveTo>
                    <a:pt x="46" y="0"/>
                  </a:moveTo>
                  <a:cubicBezTo>
                    <a:pt x="35" y="0"/>
                    <a:pt x="23" y="7"/>
                    <a:pt x="15" y="16"/>
                  </a:cubicBezTo>
                  <a:cubicBezTo>
                    <a:pt x="0" y="34"/>
                    <a:pt x="3" y="59"/>
                    <a:pt x="29" y="60"/>
                  </a:cubicBezTo>
                  <a:cubicBezTo>
                    <a:pt x="43" y="61"/>
                    <a:pt x="47" y="67"/>
                    <a:pt x="47" y="80"/>
                  </a:cubicBezTo>
                  <a:cubicBezTo>
                    <a:pt x="47" y="84"/>
                    <a:pt x="49" y="88"/>
                    <a:pt x="51" y="91"/>
                  </a:cubicBezTo>
                  <a:cubicBezTo>
                    <a:pt x="61" y="101"/>
                    <a:pt x="75" y="104"/>
                    <a:pt x="86" y="113"/>
                  </a:cubicBezTo>
                  <a:cubicBezTo>
                    <a:pt x="86" y="112"/>
                    <a:pt x="87" y="110"/>
                    <a:pt x="88" y="109"/>
                  </a:cubicBezTo>
                  <a:cubicBezTo>
                    <a:pt x="85" y="104"/>
                    <a:pt x="81" y="100"/>
                    <a:pt x="78" y="96"/>
                  </a:cubicBezTo>
                  <a:cubicBezTo>
                    <a:pt x="81" y="100"/>
                    <a:pt x="85" y="103"/>
                    <a:pt x="90" y="105"/>
                  </a:cubicBezTo>
                  <a:cubicBezTo>
                    <a:pt x="94" y="97"/>
                    <a:pt x="98" y="90"/>
                    <a:pt x="101" y="82"/>
                  </a:cubicBezTo>
                  <a:cubicBezTo>
                    <a:pt x="93" y="77"/>
                    <a:pt x="88" y="70"/>
                    <a:pt x="84" y="62"/>
                  </a:cubicBezTo>
                  <a:cubicBezTo>
                    <a:pt x="83" y="57"/>
                    <a:pt x="81" y="51"/>
                    <a:pt x="80" y="48"/>
                  </a:cubicBezTo>
                  <a:cubicBezTo>
                    <a:pt x="76" y="36"/>
                    <a:pt x="71" y="26"/>
                    <a:pt x="67" y="15"/>
                  </a:cubicBezTo>
                  <a:cubicBezTo>
                    <a:pt x="62" y="4"/>
                    <a:pt x="54" y="0"/>
                    <a:pt x="4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4" name="Freeform 3156"/>
            <p:cNvSpPr/>
            <p:nvPr userDrawn="1"/>
          </p:nvSpPr>
          <p:spPr bwMode="auto">
            <a:xfrm>
              <a:off x="7870211" y="5282606"/>
              <a:ext cx="22775" cy="38851"/>
            </a:xfrm>
            <a:custGeom>
              <a:avLst/>
              <a:gdLst>
                <a:gd name="T0" fmla="*/ 6 w 12"/>
                <a:gd name="T1" fmla="*/ 0 h 21"/>
                <a:gd name="T2" fmla="*/ 6 w 12"/>
                <a:gd name="T3" fmla="*/ 3 h 21"/>
                <a:gd name="T4" fmla="*/ 6 w 12"/>
                <a:gd name="T5" fmla="*/ 2 h 21"/>
                <a:gd name="T6" fmla="*/ 6 w 12"/>
                <a:gd name="T7" fmla="*/ 3 h 21"/>
                <a:gd name="T8" fmla="*/ 3 w 12"/>
                <a:gd name="T9" fmla="*/ 11 h 21"/>
                <a:gd name="T10" fmla="*/ 0 w 12"/>
                <a:gd name="T11" fmla="*/ 17 h 21"/>
                <a:gd name="T12" fmla="*/ 11 w 12"/>
                <a:gd name="T13" fmla="*/ 21 h 21"/>
                <a:gd name="T14" fmla="*/ 10 w 12"/>
                <a:gd name="T15" fmla="*/ 15 h 21"/>
                <a:gd name="T16" fmla="*/ 12 w 12"/>
                <a:gd name="T17" fmla="*/ 11 h 21"/>
                <a:gd name="T18" fmla="*/ 6 w 1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1">
                  <a:moveTo>
                    <a:pt x="6" y="0"/>
                  </a:moveTo>
                  <a:cubicBezTo>
                    <a:pt x="7" y="1"/>
                    <a:pt x="6" y="2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6" y="7"/>
                    <a:pt x="5" y="9"/>
                    <a:pt x="3" y="11"/>
                  </a:cubicBezTo>
                  <a:cubicBezTo>
                    <a:pt x="2" y="13"/>
                    <a:pt x="1" y="15"/>
                    <a:pt x="0" y="17"/>
                  </a:cubicBezTo>
                  <a:cubicBezTo>
                    <a:pt x="4" y="18"/>
                    <a:pt x="8" y="19"/>
                    <a:pt x="11" y="21"/>
                  </a:cubicBezTo>
                  <a:cubicBezTo>
                    <a:pt x="10" y="19"/>
                    <a:pt x="10" y="17"/>
                    <a:pt x="10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0" y="7"/>
                    <a:pt x="8" y="3"/>
                    <a:pt x="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5" name="Freeform 3157"/>
            <p:cNvSpPr>
              <a:spLocks noEditPoints="1"/>
            </p:cNvSpPr>
            <p:nvPr userDrawn="1"/>
          </p:nvSpPr>
          <p:spPr bwMode="auto">
            <a:xfrm>
              <a:off x="7835380" y="5261171"/>
              <a:ext cx="65645" cy="64305"/>
            </a:xfrm>
            <a:custGeom>
              <a:avLst/>
              <a:gdLst>
                <a:gd name="T0" fmla="*/ 3 w 36"/>
                <a:gd name="T1" fmla="*/ 11 h 35"/>
                <a:gd name="T2" fmla="*/ 0 w 36"/>
                <a:gd name="T3" fmla="*/ 16 h 35"/>
                <a:gd name="T4" fmla="*/ 2 w 36"/>
                <a:gd name="T5" fmla="*/ 11 h 35"/>
                <a:gd name="T6" fmla="*/ 3 w 36"/>
                <a:gd name="T7" fmla="*/ 11 h 35"/>
                <a:gd name="T8" fmla="*/ 21 w 36"/>
                <a:gd name="T9" fmla="*/ 0 h 35"/>
                <a:gd name="T10" fmla="*/ 13 w 36"/>
                <a:gd name="T11" fmla="*/ 3 h 35"/>
                <a:gd name="T12" fmla="*/ 14 w 36"/>
                <a:gd name="T13" fmla="*/ 3 h 35"/>
                <a:gd name="T14" fmla="*/ 16 w 36"/>
                <a:gd name="T15" fmla="*/ 3 h 35"/>
                <a:gd name="T16" fmla="*/ 23 w 36"/>
                <a:gd name="T17" fmla="*/ 6 h 35"/>
                <a:gd name="T18" fmla="*/ 25 w 36"/>
                <a:gd name="T19" fmla="*/ 12 h 35"/>
                <a:gd name="T20" fmla="*/ 31 w 36"/>
                <a:gd name="T21" fmla="*/ 23 h 35"/>
                <a:gd name="T22" fmla="*/ 29 w 36"/>
                <a:gd name="T23" fmla="*/ 27 h 35"/>
                <a:gd name="T24" fmla="*/ 30 w 36"/>
                <a:gd name="T25" fmla="*/ 33 h 35"/>
                <a:gd name="T26" fmla="*/ 19 w 36"/>
                <a:gd name="T27" fmla="*/ 29 h 35"/>
                <a:gd name="T28" fmla="*/ 18 w 36"/>
                <a:gd name="T29" fmla="*/ 31 h 35"/>
                <a:gd name="T30" fmla="*/ 21 w 36"/>
                <a:gd name="T31" fmla="*/ 33 h 35"/>
                <a:gd name="T32" fmla="*/ 26 w 36"/>
                <a:gd name="T33" fmla="*/ 35 h 35"/>
                <a:gd name="T34" fmla="*/ 33 w 36"/>
                <a:gd name="T35" fmla="*/ 32 h 35"/>
                <a:gd name="T36" fmla="*/ 35 w 36"/>
                <a:gd name="T37" fmla="*/ 22 h 35"/>
                <a:gd name="T38" fmla="*/ 35 w 36"/>
                <a:gd name="T39" fmla="*/ 17 h 35"/>
                <a:gd name="T40" fmla="*/ 35 w 36"/>
                <a:gd name="T41" fmla="*/ 16 h 35"/>
                <a:gd name="T42" fmla="*/ 35 w 36"/>
                <a:gd name="T43" fmla="*/ 13 h 35"/>
                <a:gd name="T44" fmla="*/ 33 w 36"/>
                <a:gd name="T45" fmla="*/ 9 h 35"/>
                <a:gd name="T46" fmla="*/ 26 w 36"/>
                <a:gd name="T47" fmla="*/ 1 h 35"/>
                <a:gd name="T48" fmla="*/ 21 w 36"/>
                <a:gd name="T4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" h="35">
                  <a:moveTo>
                    <a:pt x="3" y="11"/>
                  </a:moveTo>
                  <a:cubicBezTo>
                    <a:pt x="1" y="12"/>
                    <a:pt x="0" y="14"/>
                    <a:pt x="0" y="16"/>
                  </a:cubicBezTo>
                  <a:cubicBezTo>
                    <a:pt x="1" y="14"/>
                    <a:pt x="2" y="13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moveTo>
                    <a:pt x="21" y="0"/>
                  </a:moveTo>
                  <a:cubicBezTo>
                    <a:pt x="18" y="0"/>
                    <a:pt x="15" y="1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9" y="3"/>
                    <a:pt x="21" y="4"/>
                    <a:pt x="23" y="6"/>
                  </a:cubicBezTo>
                  <a:cubicBezTo>
                    <a:pt x="25" y="7"/>
                    <a:pt x="25" y="10"/>
                    <a:pt x="25" y="12"/>
                  </a:cubicBezTo>
                  <a:cubicBezTo>
                    <a:pt x="27" y="15"/>
                    <a:pt x="29" y="19"/>
                    <a:pt x="31" y="23"/>
                  </a:cubicBezTo>
                  <a:cubicBezTo>
                    <a:pt x="30" y="24"/>
                    <a:pt x="29" y="26"/>
                    <a:pt x="29" y="27"/>
                  </a:cubicBezTo>
                  <a:cubicBezTo>
                    <a:pt x="29" y="29"/>
                    <a:pt x="29" y="31"/>
                    <a:pt x="30" y="33"/>
                  </a:cubicBezTo>
                  <a:cubicBezTo>
                    <a:pt x="27" y="31"/>
                    <a:pt x="23" y="30"/>
                    <a:pt x="19" y="29"/>
                  </a:cubicBezTo>
                  <a:cubicBezTo>
                    <a:pt x="19" y="30"/>
                    <a:pt x="18" y="30"/>
                    <a:pt x="18" y="31"/>
                  </a:cubicBezTo>
                  <a:cubicBezTo>
                    <a:pt x="19" y="31"/>
                    <a:pt x="20" y="32"/>
                    <a:pt x="21" y="33"/>
                  </a:cubicBezTo>
                  <a:cubicBezTo>
                    <a:pt x="23" y="34"/>
                    <a:pt x="24" y="35"/>
                    <a:pt x="26" y="35"/>
                  </a:cubicBezTo>
                  <a:cubicBezTo>
                    <a:pt x="29" y="35"/>
                    <a:pt x="31" y="34"/>
                    <a:pt x="33" y="32"/>
                  </a:cubicBezTo>
                  <a:cubicBezTo>
                    <a:pt x="36" y="29"/>
                    <a:pt x="36" y="25"/>
                    <a:pt x="35" y="22"/>
                  </a:cubicBezTo>
                  <a:cubicBezTo>
                    <a:pt x="36" y="20"/>
                    <a:pt x="36" y="19"/>
                    <a:pt x="35" y="17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4" y="12"/>
                    <a:pt x="34" y="10"/>
                    <a:pt x="33" y="9"/>
                  </a:cubicBezTo>
                  <a:cubicBezTo>
                    <a:pt x="32" y="5"/>
                    <a:pt x="29" y="3"/>
                    <a:pt x="26" y="1"/>
                  </a:cubicBezTo>
                  <a:cubicBezTo>
                    <a:pt x="25" y="0"/>
                    <a:pt x="23" y="0"/>
                    <a:pt x="21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6" name="Freeform 3158"/>
            <p:cNvSpPr/>
            <p:nvPr userDrawn="1"/>
          </p:nvSpPr>
          <p:spPr bwMode="auto">
            <a:xfrm>
              <a:off x="7840738" y="5266529"/>
              <a:ext cx="18756" cy="14737"/>
            </a:xfrm>
            <a:custGeom>
              <a:avLst/>
              <a:gdLst>
                <a:gd name="T0" fmla="*/ 10 w 10"/>
                <a:gd name="T1" fmla="*/ 0 h 8"/>
                <a:gd name="T2" fmla="*/ 5 w 10"/>
                <a:gd name="T3" fmla="*/ 2 h 8"/>
                <a:gd name="T4" fmla="*/ 0 w 10"/>
                <a:gd name="T5" fmla="*/ 8 h 8"/>
                <a:gd name="T6" fmla="*/ 4 w 10"/>
                <a:gd name="T7" fmla="*/ 6 h 8"/>
                <a:gd name="T8" fmla="*/ 4 w 10"/>
                <a:gd name="T9" fmla="*/ 6 h 8"/>
                <a:gd name="T10" fmla="*/ 5 w 10"/>
                <a:gd name="T11" fmla="*/ 7 h 8"/>
                <a:gd name="T12" fmla="*/ 5 w 10"/>
                <a:gd name="T13" fmla="*/ 7 h 8"/>
                <a:gd name="T14" fmla="*/ 7 w 10"/>
                <a:gd name="T15" fmla="*/ 7 h 8"/>
                <a:gd name="T16" fmla="*/ 8 w 10"/>
                <a:gd name="T17" fmla="*/ 6 h 8"/>
                <a:gd name="T18" fmla="*/ 10 w 10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8" y="0"/>
                    <a:pt x="7" y="1"/>
                    <a:pt x="5" y="2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1" y="7"/>
                    <a:pt x="2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4"/>
                    <a:pt x="9" y="2"/>
                    <a:pt x="1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7" name="Freeform 3159"/>
            <p:cNvSpPr/>
            <p:nvPr userDrawn="1"/>
          </p:nvSpPr>
          <p:spPr bwMode="auto">
            <a:xfrm>
              <a:off x="7839399" y="5302701"/>
              <a:ext cx="25454" cy="10717"/>
            </a:xfrm>
            <a:custGeom>
              <a:avLst/>
              <a:gdLst>
                <a:gd name="T0" fmla="*/ 0 w 14"/>
                <a:gd name="T1" fmla="*/ 0 h 6"/>
                <a:gd name="T2" fmla="*/ 14 w 14"/>
                <a:gd name="T3" fmla="*/ 6 h 6"/>
                <a:gd name="T4" fmla="*/ 12 w 14"/>
                <a:gd name="T5" fmla="*/ 5 h 6"/>
                <a:gd name="T6" fmla="*/ 11 w 14"/>
                <a:gd name="T7" fmla="*/ 4 h 6"/>
                <a:gd name="T8" fmla="*/ 10 w 14"/>
                <a:gd name="T9" fmla="*/ 4 h 6"/>
                <a:gd name="T10" fmla="*/ 3 w 14"/>
                <a:gd name="T11" fmla="*/ 2 h 6"/>
                <a:gd name="T12" fmla="*/ 0 w 1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cubicBezTo>
                    <a:pt x="0" y="5"/>
                    <a:pt x="9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8" y="3"/>
                    <a:pt x="5" y="3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8" name="Freeform 3160"/>
            <p:cNvSpPr/>
            <p:nvPr userDrawn="1"/>
          </p:nvSpPr>
          <p:spPr bwMode="auto">
            <a:xfrm>
              <a:off x="7828681" y="5290644"/>
              <a:ext cx="40191" cy="36172"/>
            </a:xfrm>
            <a:custGeom>
              <a:avLst/>
              <a:gdLst>
                <a:gd name="T0" fmla="*/ 4 w 22"/>
                <a:gd name="T1" fmla="*/ 0 h 20"/>
                <a:gd name="T2" fmla="*/ 4 w 22"/>
                <a:gd name="T3" fmla="*/ 0 h 20"/>
                <a:gd name="T4" fmla="*/ 1 w 22"/>
                <a:gd name="T5" fmla="*/ 9 h 20"/>
                <a:gd name="T6" fmla="*/ 9 w 22"/>
                <a:gd name="T7" fmla="*/ 20 h 20"/>
                <a:gd name="T8" fmla="*/ 12 w 22"/>
                <a:gd name="T9" fmla="*/ 20 h 20"/>
                <a:gd name="T10" fmla="*/ 22 w 22"/>
                <a:gd name="T11" fmla="*/ 15 h 20"/>
                <a:gd name="T12" fmla="*/ 22 w 22"/>
                <a:gd name="T13" fmla="*/ 15 h 20"/>
                <a:gd name="T14" fmla="*/ 20 w 22"/>
                <a:gd name="T15" fmla="*/ 13 h 20"/>
                <a:gd name="T16" fmla="*/ 6 w 22"/>
                <a:gd name="T17" fmla="*/ 7 h 20"/>
                <a:gd name="T18" fmla="*/ 4 w 22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0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2" y="6"/>
                    <a:pt x="1" y="9"/>
                  </a:cubicBezTo>
                  <a:cubicBezTo>
                    <a:pt x="0" y="14"/>
                    <a:pt x="5" y="19"/>
                    <a:pt x="9" y="20"/>
                  </a:cubicBezTo>
                  <a:cubicBezTo>
                    <a:pt x="10" y="20"/>
                    <a:pt x="11" y="20"/>
                    <a:pt x="12" y="20"/>
                  </a:cubicBezTo>
                  <a:cubicBezTo>
                    <a:pt x="16" y="20"/>
                    <a:pt x="20" y="19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4"/>
                    <a:pt x="21" y="14"/>
                    <a:pt x="20" y="13"/>
                  </a:cubicBezTo>
                  <a:cubicBezTo>
                    <a:pt x="15" y="13"/>
                    <a:pt x="6" y="12"/>
                    <a:pt x="6" y="7"/>
                  </a:cubicBezTo>
                  <a:cubicBezTo>
                    <a:pt x="5" y="5"/>
                    <a:pt x="4" y="2"/>
                    <a:pt x="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49" name="Freeform 3161"/>
            <p:cNvSpPr/>
            <p:nvPr userDrawn="1"/>
          </p:nvSpPr>
          <p:spPr bwMode="auto">
            <a:xfrm>
              <a:off x="7839399" y="5271888"/>
              <a:ext cx="44210" cy="41530"/>
            </a:xfrm>
            <a:custGeom>
              <a:avLst/>
              <a:gdLst>
                <a:gd name="T0" fmla="*/ 17 w 24"/>
                <a:gd name="T1" fmla="*/ 0 h 23"/>
                <a:gd name="T2" fmla="*/ 15 w 24"/>
                <a:gd name="T3" fmla="*/ 1 h 23"/>
                <a:gd name="T4" fmla="*/ 2 w 24"/>
                <a:gd name="T5" fmla="*/ 14 h 23"/>
                <a:gd name="T6" fmla="*/ 0 w 24"/>
                <a:gd name="T7" fmla="*/ 17 h 23"/>
                <a:gd name="T8" fmla="*/ 3 w 24"/>
                <a:gd name="T9" fmla="*/ 19 h 23"/>
                <a:gd name="T10" fmla="*/ 10 w 24"/>
                <a:gd name="T11" fmla="*/ 21 h 23"/>
                <a:gd name="T12" fmla="*/ 11 w 24"/>
                <a:gd name="T13" fmla="*/ 21 h 23"/>
                <a:gd name="T14" fmla="*/ 12 w 24"/>
                <a:gd name="T15" fmla="*/ 22 h 23"/>
                <a:gd name="T16" fmla="*/ 14 w 24"/>
                <a:gd name="T17" fmla="*/ 23 h 23"/>
                <a:gd name="T18" fmla="*/ 17 w 24"/>
                <a:gd name="T19" fmla="*/ 23 h 23"/>
                <a:gd name="T20" fmla="*/ 17 w 24"/>
                <a:gd name="T21" fmla="*/ 23 h 23"/>
                <a:gd name="T22" fmla="*/ 20 w 24"/>
                <a:gd name="T23" fmla="*/ 17 h 23"/>
                <a:gd name="T24" fmla="*/ 23 w 24"/>
                <a:gd name="T25" fmla="*/ 9 h 23"/>
                <a:gd name="T26" fmla="*/ 23 w 24"/>
                <a:gd name="T27" fmla="*/ 8 h 23"/>
                <a:gd name="T28" fmla="*/ 23 w 24"/>
                <a:gd name="T29" fmla="*/ 9 h 23"/>
                <a:gd name="T30" fmla="*/ 23 w 24"/>
                <a:gd name="T31" fmla="*/ 6 h 23"/>
                <a:gd name="T32" fmla="*/ 17 w 24"/>
                <a:gd name="T3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3">
                  <a:moveTo>
                    <a:pt x="17" y="0"/>
                  </a:moveTo>
                  <a:cubicBezTo>
                    <a:pt x="16" y="0"/>
                    <a:pt x="16" y="0"/>
                    <a:pt x="15" y="1"/>
                  </a:cubicBezTo>
                  <a:cubicBezTo>
                    <a:pt x="10" y="3"/>
                    <a:pt x="5" y="9"/>
                    <a:pt x="2" y="14"/>
                  </a:cubicBezTo>
                  <a:cubicBezTo>
                    <a:pt x="1" y="15"/>
                    <a:pt x="1" y="16"/>
                    <a:pt x="0" y="17"/>
                  </a:cubicBezTo>
                  <a:cubicBezTo>
                    <a:pt x="1" y="18"/>
                    <a:pt x="2" y="18"/>
                    <a:pt x="3" y="19"/>
                  </a:cubicBezTo>
                  <a:cubicBezTo>
                    <a:pt x="5" y="20"/>
                    <a:pt x="8" y="20"/>
                    <a:pt x="10" y="21"/>
                  </a:cubicBezTo>
                  <a:cubicBezTo>
                    <a:pt x="10" y="21"/>
                    <a:pt x="11" y="21"/>
                    <a:pt x="11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2"/>
                    <a:pt x="13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1"/>
                    <a:pt x="19" y="19"/>
                    <a:pt x="20" y="17"/>
                  </a:cubicBezTo>
                  <a:cubicBezTo>
                    <a:pt x="22" y="15"/>
                    <a:pt x="23" y="13"/>
                    <a:pt x="23" y="9"/>
                  </a:cubicBezTo>
                  <a:cubicBezTo>
                    <a:pt x="23" y="9"/>
                    <a:pt x="24" y="8"/>
                    <a:pt x="23" y="8"/>
                  </a:cubicBezTo>
                  <a:cubicBezTo>
                    <a:pt x="23" y="8"/>
                    <a:pt x="23" y="8"/>
                    <a:pt x="23" y="9"/>
                  </a:cubicBezTo>
                  <a:cubicBezTo>
                    <a:pt x="23" y="8"/>
                    <a:pt x="24" y="7"/>
                    <a:pt x="23" y="6"/>
                  </a:cubicBezTo>
                  <a:cubicBezTo>
                    <a:pt x="21" y="3"/>
                    <a:pt x="19" y="0"/>
                    <a:pt x="17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0" name="Freeform 3162"/>
            <p:cNvSpPr>
              <a:spLocks noEditPoints="1"/>
            </p:cNvSpPr>
            <p:nvPr userDrawn="1"/>
          </p:nvSpPr>
          <p:spPr bwMode="auto">
            <a:xfrm>
              <a:off x="7835380" y="5266529"/>
              <a:ext cx="45549" cy="50908"/>
            </a:xfrm>
            <a:custGeom>
              <a:avLst/>
              <a:gdLst>
                <a:gd name="T0" fmla="*/ 16 w 25"/>
                <a:gd name="T1" fmla="*/ 26 h 28"/>
                <a:gd name="T2" fmla="*/ 18 w 25"/>
                <a:gd name="T3" fmla="*/ 28 h 28"/>
                <a:gd name="T4" fmla="*/ 19 w 25"/>
                <a:gd name="T5" fmla="*/ 26 h 28"/>
                <a:gd name="T6" fmla="*/ 19 w 25"/>
                <a:gd name="T7" fmla="*/ 26 h 28"/>
                <a:gd name="T8" fmla="*/ 16 w 25"/>
                <a:gd name="T9" fmla="*/ 26 h 28"/>
                <a:gd name="T10" fmla="*/ 16 w 25"/>
                <a:gd name="T11" fmla="*/ 0 h 28"/>
                <a:gd name="T12" fmla="*/ 14 w 25"/>
                <a:gd name="T13" fmla="*/ 0 h 28"/>
                <a:gd name="T14" fmla="*/ 13 w 25"/>
                <a:gd name="T15" fmla="*/ 0 h 28"/>
                <a:gd name="T16" fmla="*/ 11 w 25"/>
                <a:gd name="T17" fmla="*/ 6 h 28"/>
                <a:gd name="T18" fmla="*/ 10 w 25"/>
                <a:gd name="T19" fmla="*/ 7 h 28"/>
                <a:gd name="T20" fmla="*/ 8 w 25"/>
                <a:gd name="T21" fmla="*/ 7 h 28"/>
                <a:gd name="T22" fmla="*/ 8 w 25"/>
                <a:gd name="T23" fmla="*/ 7 h 28"/>
                <a:gd name="T24" fmla="*/ 7 w 25"/>
                <a:gd name="T25" fmla="*/ 6 h 28"/>
                <a:gd name="T26" fmla="*/ 7 w 25"/>
                <a:gd name="T27" fmla="*/ 6 h 28"/>
                <a:gd name="T28" fmla="*/ 3 w 25"/>
                <a:gd name="T29" fmla="*/ 8 h 28"/>
                <a:gd name="T30" fmla="*/ 2 w 25"/>
                <a:gd name="T31" fmla="*/ 8 h 28"/>
                <a:gd name="T32" fmla="*/ 0 w 25"/>
                <a:gd name="T33" fmla="*/ 13 h 28"/>
                <a:gd name="T34" fmla="*/ 2 w 25"/>
                <a:gd name="T35" fmla="*/ 20 h 28"/>
                <a:gd name="T36" fmla="*/ 4 w 25"/>
                <a:gd name="T37" fmla="*/ 17 h 28"/>
                <a:gd name="T38" fmla="*/ 17 w 25"/>
                <a:gd name="T39" fmla="*/ 4 h 28"/>
                <a:gd name="T40" fmla="*/ 19 w 25"/>
                <a:gd name="T41" fmla="*/ 3 h 28"/>
                <a:gd name="T42" fmla="*/ 25 w 25"/>
                <a:gd name="T43" fmla="*/ 9 h 28"/>
                <a:gd name="T44" fmla="*/ 23 w 25"/>
                <a:gd name="T45" fmla="*/ 3 h 28"/>
                <a:gd name="T46" fmla="*/ 16 w 25"/>
                <a:gd name="T4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8">
                  <a:moveTo>
                    <a:pt x="16" y="26"/>
                  </a:moveTo>
                  <a:cubicBezTo>
                    <a:pt x="17" y="27"/>
                    <a:pt x="17" y="27"/>
                    <a:pt x="18" y="28"/>
                  </a:cubicBezTo>
                  <a:cubicBezTo>
                    <a:pt x="18" y="27"/>
                    <a:pt x="19" y="27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6"/>
                    <a:pt x="17" y="26"/>
                    <a:pt x="16" y="26"/>
                  </a:cubicBezTo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2"/>
                    <a:pt x="11" y="4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10"/>
                    <a:pt x="1" y="11"/>
                    <a:pt x="0" y="13"/>
                  </a:cubicBezTo>
                  <a:cubicBezTo>
                    <a:pt x="0" y="15"/>
                    <a:pt x="1" y="18"/>
                    <a:pt x="2" y="20"/>
                  </a:cubicBezTo>
                  <a:cubicBezTo>
                    <a:pt x="3" y="19"/>
                    <a:pt x="3" y="18"/>
                    <a:pt x="4" y="17"/>
                  </a:cubicBezTo>
                  <a:cubicBezTo>
                    <a:pt x="7" y="12"/>
                    <a:pt x="12" y="6"/>
                    <a:pt x="17" y="4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21" y="3"/>
                    <a:pt x="23" y="6"/>
                    <a:pt x="25" y="9"/>
                  </a:cubicBezTo>
                  <a:cubicBezTo>
                    <a:pt x="25" y="7"/>
                    <a:pt x="25" y="4"/>
                    <a:pt x="23" y="3"/>
                  </a:cubicBezTo>
                  <a:cubicBezTo>
                    <a:pt x="21" y="1"/>
                    <a:pt x="19" y="0"/>
                    <a:pt x="16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1" name="Freeform 3163"/>
            <p:cNvSpPr/>
            <p:nvPr userDrawn="1"/>
          </p:nvSpPr>
          <p:spPr bwMode="auto">
            <a:xfrm>
              <a:off x="7521893" y="5092370"/>
              <a:ext cx="301429" cy="144686"/>
            </a:xfrm>
            <a:custGeom>
              <a:avLst/>
              <a:gdLst>
                <a:gd name="T0" fmla="*/ 28 w 164"/>
                <a:gd name="T1" fmla="*/ 0 h 79"/>
                <a:gd name="T2" fmla="*/ 19 w 164"/>
                <a:gd name="T3" fmla="*/ 7 h 79"/>
                <a:gd name="T4" fmla="*/ 45 w 164"/>
                <a:gd name="T5" fmla="*/ 28 h 79"/>
                <a:gd name="T6" fmla="*/ 51 w 164"/>
                <a:gd name="T7" fmla="*/ 31 h 79"/>
                <a:gd name="T8" fmla="*/ 68 w 164"/>
                <a:gd name="T9" fmla="*/ 38 h 79"/>
                <a:gd name="T10" fmla="*/ 70 w 164"/>
                <a:gd name="T11" fmla="*/ 39 h 79"/>
                <a:gd name="T12" fmla="*/ 72 w 164"/>
                <a:gd name="T13" fmla="*/ 40 h 79"/>
                <a:gd name="T14" fmla="*/ 75 w 164"/>
                <a:gd name="T15" fmla="*/ 41 h 79"/>
                <a:gd name="T16" fmla="*/ 73 w 164"/>
                <a:gd name="T17" fmla="*/ 54 h 79"/>
                <a:gd name="T18" fmla="*/ 73 w 164"/>
                <a:gd name="T19" fmla="*/ 54 h 79"/>
                <a:gd name="T20" fmla="*/ 47 w 164"/>
                <a:gd name="T21" fmla="*/ 49 h 79"/>
                <a:gd name="T22" fmla="*/ 26 w 164"/>
                <a:gd name="T23" fmla="*/ 37 h 79"/>
                <a:gd name="T24" fmla="*/ 5 w 164"/>
                <a:gd name="T25" fmla="*/ 22 h 79"/>
                <a:gd name="T26" fmla="*/ 0 w 164"/>
                <a:gd name="T27" fmla="*/ 28 h 79"/>
                <a:gd name="T28" fmla="*/ 23 w 164"/>
                <a:gd name="T29" fmla="*/ 45 h 79"/>
                <a:gd name="T30" fmla="*/ 61 w 164"/>
                <a:gd name="T31" fmla="*/ 76 h 79"/>
                <a:gd name="T32" fmla="*/ 70 w 164"/>
                <a:gd name="T33" fmla="*/ 78 h 79"/>
                <a:gd name="T34" fmla="*/ 88 w 164"/>
                <a:gd name="T35" fmla="*/ 74 h 79"/>
                <a:gd name="T36" fmla="*/ 106 w 164"/>
                <a:gd name="T37" fmla="*/ 69 h 79"/>
                <a:gd name="T38" fmla="*/ 116 w 164"/>
                <a:gd name="T39" fmla="*/ 71 h 79"/>
                <a:gd name="T40" fmla="*/ 145 w 164"/>
                <a:gd name="T41" fmla="*/ 79 h 79"/>
                <a:gd name="T42" fmla="*/ 153 w 164"/>
                <a:gd name="T43" fmla="*/ 79 h 79"/>
                <a:gd name="T44" fmla="*/ 161 w 164"/>
                <a:gd name="T45" fmla="*/ 63 h 79"/>
                <a:gd name="T46" fmla="*/ 101 w 164"/>
                <a:gd name="T47" fmla="*/ 38 h 79"/>
                <a:gd name="T48" fmla="*/ 28 w 164"/>
                <a:gd name="T4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4" h="79">
                  <a:moveTo>
                    <a:pt x="28" y="0"/>
                  </a:moveTo>
                  <a:cubicBezTo>
                    <a:pt x="25" y="3"/>
                    <a:pt x="22" y="5"/>
                    <a:pt x="19" y="7"/>
                  </a:cubicBezTo>
                  <a:cubicBezTo>
                    <a:pt x="28" y="14"/>
                    <a:pt x="36" y="22"/>
                    <a:pt x="45" y="28"/>
                  </a:cubicBezTo>
                  <a:cubicBezTo>
                    <a:pt x="47" y="29"/>
                    <a:pt x="49" y="30"/>
                    <a:pt x="51" y="31"/>
                  </a:cubicBezTo>
                  <a:cubicBezTo>
                    <a:pt x="57" y="34"/>
                    <a:pt x="62" y="36"/>
                    <a:pt x="68" y="38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71" y="39"/>
                    <a:pt x="72" y="39"/>
                    <a:pt x="72" y="40"/>
                  </a:cubicBezTo>
                  <a:cubicBezTo>
                    <a:pt x="73" y="40"/>
                    <a:pt x="74" y="40"/>
                    <a:pt x="75" y="41"/>
                  </a:cubicBezTo>
                  <a:cubicBezTo>
                    <a:pt x="81" y="43"/>
                    <a:pt x="80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64" y="53"/>
                    <a:pt x="55" y="51"/>
                    <a:pt x="47" y="49"/>
                  </a:cubicBezTo>
                  <a:cubicBezTo>
                    <a:pt x="39" y="46"/>
                    <a:pt x="30" y="44"/>
                    <a:pt x="26" y="37"/>
                  </a:cubicBezTo>
                  <a:cubicBezTo>
                    <a:pt x="18" y="33"/>
                    <a:pt x="11" y="28"/>
                    <a:pt x="5" y="22"/>
                  </a:cubicBezTo>
                  <a:cubicBezTo>
                    <a:pt x="3" y="24"/>
                    <a:pt x="1" y="26"/>
                    <a:pt x="0" y="28"/>
                  </a:cubicBezTo>
                  <a:cubicBezTo>
                    <a:pt x="8" y="32"/>
                    <a:pt x="17" y="37"/>
                    <a:pt x="23" y="45"/>
                  </a:cubicBezTo>
                  <a:cubicBezTo>
                    <a:pt x="34" y="59"/>
                    <a:pt x="45" y="70"/>
                    <a:pt x="61" y="76"/>
                  </a:cubicBezTo>
                  <a:cubicBezTo>
                    <a:pt x="64" y="78"/>
                    <a:pt x="67" y="78"/>
                    <a:pt x="70" y="78"/>
                  </a:cubicBezTo>
                  <a:cubicBezTo>
                    <a:pt x="76" y="78"/>
                    <a:pt x="82" y="76"/>
                    <a:pt x="88" y="74"/>
                  </a:cubicBezTo>
                  <a:cubicBezTo>
                    <a:pt x="94" y="71"/>
                    <a:pt x="100" y="69"/>
                    <a:pt x="106" y="69"/>
                  </a:cubicBezTo>
                  <a:cubicBezTo>
                    <a:pt x="110" y="69"/>
                    <a:pt x="113" y="70"/>
                    <a:pt x="116" y="71"/>
                  </a:cubicBezTo>
                  <a:cubicBezTo>
                    <a:pt x="127" y="76"/>
                    <a:pt x="135" y="79"/>
                    <a:pt x="145" y="79"/>
                  </a:cubicBezTo>
                  <a:cubicBezTo>
                    <a:pt x="148" y="79"/>
                    <a:pt x="150" y="79"/>
                    <a:pt x="153" y="79"/>
                  </a:cubicBezTo>
                  <a:cubicBezTo>
                    <a:pt x="161" y="78"/>
                    <a:pt x="164" y="69"/>
                    <a:pt x="161" y="63"/>
                  </a:cubicBezTo>
                  <a:cubicBezTo>
                    <a:pt x="148" y="35"/>
                    <a:pt x="127" y="39"/>
                    <a:pt x="101" y="38"/>
                  </a:cubicBezTo>
                  <a:cubicBezTo>
                    <a:pt x="74" y="36"/>
                    <a:pt x="52" y="16"/>
                    <a:pt x="2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2" name="Freeform 3164"/>
            <p:cNvSpPr>
              <a:spLocks noEditPoints="1"/>
            </p:cNvSpPr>
            <p:nvPr userDrawn="1"/>
          </p:nvSpPr>
          <p:spPr bwMode="auto">
            <a:xfrm>
              <a:off x="7531271" y="5105767"/>
              <a:ext cx="123251" cy="60286"/>
            </a:xfrm>
            <a:custGeom>
              <a:avLst/>
              <a:gdLst>
                <a:gd name="T0" fmla="*/ 63 w 67"/>
                <a:gd name="T1" fmla="*/ 31 h 33"/>
                <a:gd name="T2" fmla="*/ 67 w 67"/>
                <a:gd name="T3" fmla="*/ 33 h 33"/>
                <a:gd name="T4" fmla="*/ 65 w 67"/>
                <a:gd name="T5" fmla="*/ 32 h 33"/>
                <a:gd name="T6" fmla="*/ 63 w 67"/>
                <a:gd name="T7" fmla="*/ 31 h 33"/>
                <a:gd name="T8" fmla="*/ 14 w 67"/>
                <a:gd name="T9" fmla="*/ 0 h 33"/>
                <a:gd name="T10" fmla="*/ 0 w 67"/>
                <a:gd name="T11" fmla="*/ 15 h 33"/>
                <a:gd name="T12" fmla="*/ 21 w 67"/>
                <a:gd name="T13" fmla="*/ 30 h 33"/>
                <a:gd name="T14" fmla="*/ 19 w 67"/>
                <a:gd name="T15" fmla="*/ 26 h 33"/>
                <a:gd name="T16" fmla="*/ 25 w 67"/>
                <a:gd name="T17" fmla="*/ 17 h 33"/>
                <a:gd name="T18" fmla="*/ 28 w 67"/>
                <a:gd name="T19" fmla="*/ 17 h 33"/>
                <a:gd name="T20" fmla="*/ 40 w 67"/>
                <a:gd name="T21" fmla="*/ 21 h 33"/>
                <a:gd name="T22" fmla="*/ 14 w 67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3">
                  <a:moveTo>
                    <a:pt x="63" y="31"/>
                  </a:moveTo>
                  <a:cubicBezTo>
                    <a:pt x="64" y="32"/>
                    <a:pt x="66" y="32"/>
                    <a:pt x="67" y="33"/>
                  </a:cubicBezTo>
                  <a:cubicBezTo>
                    <a:pt x="67" y="32"/>
                    <a:pt x="66" y="32"/>
                    <a:pt x="65" y="32"/>
                  </a:cubicBezTo>
                  <a:cubicBezTo>
                    <a:pt x="64" y="32"/>
                    <a:pt x="64" y="32"/>
                    <a:pt x="63" y="31"/>
                  </a:cubicBezTo>
                  <a:moveTo>
                    <a:pt x="14" y="0"/>
                  </a:moveTo>
                  <a:cubicBezTo>
                    <a:pt x="9" y="5"/>
                    <a:pt x="4" y="10"/>
                    <a:pt x="0" y="15"/>
                  </a:cubicBezTo>
                  <a:cubicBezTo>
                    <a:pt x="6" y="21"/>
                    <a:pt x="13" y="26"/>
                    <a:pt x="21" y="30"/>
                  </a:cubicBezTo>
                  <a:cubicBezTo>
                    <a:pt x="20" y="29"/>
                    <a:pt x="19" y="28"/>
                    <a:pt x="19" y="26"/>
                  </a:cubicBezTo>
                  <a:cubicBezTo>
                    <a:pt x="17" y="22"/>
                    <a:pt x="21" y="18"/>
                    <a:pt x="25" y="17"/>
                  </a:cubicBezTo>
                  <a:cubicBezTo>
                    <a:pt x="26" y="17"/>
                    <a:pt x="27" y="17"/>
                    <a:pt x="28" y="17"/>
                  </a:cubicBezTo>
                  <a:cubicBezTo>
                    <a:pt x="32" y="17"/>
                    <a:pt x="36" y="19"/>
                    <a:pt x="40" y="21"/>
                  </a:cubicBezTo>
                  <a:cubicBezTo>
                    <a:pt x="31" y="15"/>
                    <a:pt x="23" y="7"/>
                    <a:pt x="1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3" name="Freeform 3165"/>
            <p:cNvSpPr/>
            <p:nvPr userDrawn="1"/>
          </p:nvSpPr>
          <p:spPr bwMode="auto">
            <a:xfrm>
              <a:off x="7724186" y="5045481"/>
              <a:ext cx="140667" cy="92438"/>
            </a:xfrm>
            <a:custGeom>
              <a:avLst/>
              <a:gdLst>
                <a:gd name="T0" fmla="*/ 14 w 77"/>
                <a:gd name="T1" fmla="*/ 0 h 51"/>
                <a:gd name="T2" fmla="*/ 9 w 77"/>
                <a:gd name="T3" fmla="*/ 17 h 51"/>
                <a:gd name="T4" fmla="*/ 10 w 77"/>
                <a:gd name="T5" fmla="*/ 31 h 51"/>
                <a:gd name="T6" fmla="*/ 55 w 77"/>
                <a:gd name="T7" fmla="*/ 50 h 51"/>
                <a:gd name="T8" fmla="*/ 60 w 77"/>
                <a:gd name="T9" fmla="*/ 49 h 51"/>
                <a:gd name="T10" fmla="*/ 64 w 77"/>
                <a:gd name="T11" fmla="*/ 50 h 51"/>
                <a:gd name="T12" fmla="*/ 67 w 77"/>
                <a:gd name="T13" fmla="*/ 51 h 51"/>
                <a:gd name="T14" fmla="*/ 74 w 77"/>
                <a:gd name="T15" fmla="*/ 38 h 51"/>
                <a:gd name="T16" fmla="*/ 19 w 77"/>
                <a:gd name="T17" fmla="*/ 1 h 51"/>
                <a:gd name="T18" fmla="*/ 14 w 77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51">
                  <a:moveTo>
                    <a:pt x="14" y="0"/>
                  </a:moveTo>
                  <a:cubicBezTo>
                    <a:pt x="6" y="0"/>
                    <a:pt x="0" y="11"/>
                    <a:pt x="9" y="17"/>
                  </a:cubicBezTo>
                  <a:cubicBezTo>
                    <a:pt x="5" y="21"/>
                    <a:pt x="6" y="28"/>
                    <a:pt x="10" y="31"/>
                  </a:cubicBezTo>
                  <a:cubicBezTo>
                    <a:pt x="18" y="34"/>
                    <a:pt x="41" y="50"/>
                    <a:pt x="55" y="50"/>
                  </a:cubicBezTo>
                  <a:cubicBezTo>
                    <a:pt x="57" y="50"/>
                    <a:pt x="59" y="49"/>
                    <a:pt x="60" y="49"/>
                  </a:cubicBezTo>
                  <a:cubicBezTo>
                    <a:pt x="62" y="49"/>
                    <a:pt x="63" y="50"/>
                    <a:pt x="64" y="50"/>
                  </a:cubicBezTo>
                  <a:cubicBezTo>
                    <a:pt x="65" y="50"/>
                    <a:pt x="66" y="51"/>
                    <a:pt x="67" y="51"/>
                  </a:cubicBezTo>
                  <a:cubicBezTo>
                    <a:pt x="73" y="51"/>
                    <a:pt x="77" y="44"/>
                    <a:pt x="74" y="38"/>
                  </a:cubicBezTo>
                  <a:cubicBezTo>
                    <a:pt x="65" y="18"/>
                    <a:pt x="37" y="10"/>
                    <a:pt x="19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4" name="Freeform 3166"/>
            <p:cNvSpPr/>
            <p:nvPr userDrawn="1"/>
          </p:nvSpPr>
          <p:spPr bwMode="auto">
            <a:xfrm>
              <a:off x="7604954" y="5143278"/>
              <a:ext cx="41530" cy="18756"/>
            </a:xfrm>
            <a:custGeom>
              <a:avLst/>
              <a:gdLst>
                <a:gd name="T0" fmla="*/ 0 w 23"/>
                <a:gd name="T1" fmla="*/ 0 h 10"/>
                <a:gd name="T2" fmla="*/ 23 w 23"/>
                <a:gd name="T3" fmla="*/ 10 h 10"/>
                <a:gd name="T4" fmla="*/ 6 w 23"/>
                <a:gd name="T5" fmla="*/ 3 h 10"/>
                <a:gd name="T6" fmla="*/ 0 w 2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0">
                  <a:moveTo>
                    <a:pt x="0" y="0"/>
                  </a:moveTo>
                  <a:cubicBezTo>
                    <a:pt x="7" y="5"/>
                    <a:pt x="14" y="9"/>
                    <a:pt x="23" y="10"/>
                  </a:cubicBezTo>
                  <a:cubicBezTo>
                    <a:pt x="17" y="8"/>
                    <a:pt x="12" y="6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5" name="Freeform 3167"/>
            <p:cNvSpPr/>
            <p:nvPr userDrawn="1"/>
          </p:nvSpPr>
          <p:spPr bwMode="auto">
            <a:xfrm>
              <a:off x="7621030" y="5176770"/>
              <a:ext cx="40191" cy="13397"/>
            </a:xfrm>
            <a:custGeom>
              <a:avLst/>
              <a:gdLst>
                <a:gd name="T0" fmla="*/ 0 w 22"/>
                <a:gd name="T1" fmla="*/ 0 h 7"/>
                <a:gd name="T2" fmla="*/ 17 w 22"/>
                <a:gd name="T3" fmla="*/ 7 h 7"/>
                <a:gd name="T4" fmla="*/ 22 w 22"/>
                <a:gd name="T5" fmla="*/ 6 h 7"/>
                <a:gd name="T6" fmla="*/ 15 w 22"/>
                <a:gd name="T7" fmla="*/ 3 h 7"/>
                <a:gd name="T8" fmla="*/ 10 w 22"/>
                <a:gd name="T9" fmla="*/ 0 h 7"/>
                <a:gd name="T10" fmla="*/ 5 w 22"/>
                <a:gd name="T11" fmla="*/ 0 h 7"/>
                <a:gd name="T12" fmla="*/ 0 w 2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0"/>
                  </a:moveTo>
                  <a:cubicBezTo>
                    <a:pt x="6" y="5"/>
                    <a:pt x="12" y="7"/>
                    <a:pt x="17" y="7"/>
                  </a:cubicBezTo>
                  <a:cubicBezTo>
                    <a:pt x="19" y="7"/>
                    <a:pt x="20" y="7"/>
                    <a:pt x="22" y="6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3" y="2"/>
                    <a:pt x="11" y="1"/>
                    <a:pt x="10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6" name="Freeform 3168"/>
            <p:cNvSpPr/>
            <p:nvPr userDrawn="1"/>
          </p:nvSpPr>
          <p:spPr bwMode="auto">
            <a:xfrm>
              <a:off x="7570122" y="5160694"/>
              <a:ext cx="100476" cy="30813"/>
            </a:xfrm>
            <a:custGeom>
              <a:avLst/>
              <a:gdLst>
                <a:gd name="T0" fmla="*/ 0 w 55"/>
                <a:gd name="T1" fmla="*/ 0 h 17"/>
                <a:gd name="T2" fmla="*/ 21 w 55"/>
                <a:gd name="T3" fmla="*/ 12 h 17"/>
                <a:gd name="T4" fmla="*/ 47 w 55"/>
                <a:gd name="T5" fmla="*/ 17 h 17"/>
                <a:gd name="T6" fmla="*/ 47 w 55"/>
                <a:gd name="T7" fmla="*/ 17 h 17"/>
                <a:gd name="T8" fmla="*/ 49 w 55"/>
                <a:gd name="T9" fmla="*/ 4 h 17"/>
                <a:gd name="T10" fmla="*/ 46 w 55"/>
                <a:gd name="T11" fmla="*/ 3 h 17"/>
                <a:gd name="T12" fmla="*/ 45 w 55"/>
                <a:gd name="T13" fmla="*/ 8 h 17"/>
                <a:gd name="T14" fmla="*/ 38 w 55"/>
                <a:gd name="T15" fmla="*/ 9 h 17"/>
                <a:gd name="T16" fmla="*/ 43 w 55"/>
                <a:gd name="T17" fmla="*/ 12 h 17"/>
                <a:gd name="T18" fmla="*/ 50 w 55"/>
                <a:gd name="T19" fmla="*/ 15 h 17"/>
                <a:gd name="T20" fmla="*/ 45 w 55"/>
                <a:gd name="T21" fmla="*/ 16 h 17"/>
                <a:gd name="T22" fmla="*/ 28 w 55"/>
                <a:gd name="T23" fmla="*/ 9 h 17"/>
                <a:gd name="T24" fmla="*/ 0 w 55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17">
                  <a:moveTo>
                    <a:pt x="0" y="0"/>
                  </a:moveTo>
                  <a:cubicBezTo>
                    <a:pt x="4" y="7"/>
                    <a:pt x="13" y="9"/>
                    <a:pt x="21" y="12"/>
                  </a:cubicBezTo>
                  <a:cubicBezTo>
                    <a:pt x="29" y="14"/>
                    <a:pt x="38" y="16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54" y="17"/>
                    <a:pt x="55" y="6"/>
                    <a:pt x="49" y="4"/>
                  </a:cubicBezTo>
                  <a:cubicBezTo>
                    <a:pt x="48" y="3"/>
                    <a:pt x="47" y="3"/>
                    <a:pt x="46" y="3"/>
                  </a:cubicBezTo>
                  <a:cubicBezTo>
                    <a:pt x="48" y="4"/>
                    <a:pt x="47" y="7"/>
                    <a:pt x="45" y="8"/>
                  </a:cubicBezTo>
                  <a:cubicBezTo>
                    <a:pt x="43" y="8"/>
                    <a:pt x="40" y="9"/>
                    <a:pt x="38" y="9"/>
                  </a:cubicBezTo>
                  <a:cubicBezTo>
                    <a:pt x="39" y="10"/>
                    <a:pt x="41" y="11"/>
                    <a:pt x="43" y="12"/>
                  </a:cubicBezTo>
                  <a:cubicBezTo>
                    <a:pt x="45" y="13"/>
                    <a:pt x="47" y="14"/>
                    <a:pt x="50" y="15"/>
                  </a:cubicBezTo>
                  <a:cubicBezTo>
                    <a:pt x="48" y="16"/>
                    <a:pt x="47" y="16"/>
                    <a:pt x="45" y="16"/>
                  </a:cubicBezTo>
                  <a:cubicBezTo>
                    <a:pt x="40" y="16"/>
                    <a:pt x="34" y="14"/>
                    <a:pt x="28" y="9"/>
                  </a:cubicBezTo>
                  <a:cubicBezTo>
                    <a:pt x="18" y="8"/>
                    <a:pt x="9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7" name="Freeform 3169"/>
            <p:cNvSpPr/>
            <p:nvPr userDrawn="1"/>
          </p:nvSpPr>
          <p:spPr bwMode="auto">
            <a:xfrm>
              <a:off x="7599595" y="5151316"/>
              <a:ext cx="40191" cy="25454"/>
            </a:xfrm>
            <a:custGeom>
              <a:avLst/>
              <a:gdLst>
                <a:gd name="T0" fmla="*/ 0 w 22"/>
                <a:gd name="T1" fmla="*/ 0 h 14"/>
                <a:gd name="T2" fmla="*/ 7 w 22"/>
                <a:gd name="T3" fmla="*/ 9 h 14"/>
                <a:gd name="T4" fmla="*/ 12 w 22"/>
                <a:gd name="T5" fmla="*/ 14 h 14"/>
                <a:gd name="T6" fmla="*/ 17 w 22"/>
                <a:gd name="T7" fmla="*/ 14 h 14"/>
                <a:gd name="T8" fmla="*/ 22 w 22"/>
                <a:gd name="T9" fmla="*/ 14 h 14"/>
                <a:gd name="T10" fmla="*/ 0 w 22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4">
                  <a:moveTo>
                    <a:pt x="0" y="0"/>
                  </a:moveTo>
                  <a:cubicBezTo>
                    <a:pt x="2" y="3"/>
                    <a:pt x="4" y="6"/>
                    <a:pt x="7" y="9"/>
                  </a:cubicBezTo>
                  <a:cubicBezTo>
                    <a:pt x="8" y="11"/>
                    <a:pt x="10" y="13"/>
                    <a:pt x="12" y="14"/>
                  </a:cubicBezTo>
                  <a:cubicBezTo>
                    <a:pt x="13" y="14"/>
                    <a:pt x="15" y="14"/>
                    <a:pt x="17" y="14"/>
                  </a:cubicBezTo>
                  <a:cubicBezTo>
                    <a:pt x="19" y="14"/>
                    <a:pt x="20" y="14"/>
                    <a:pt x="22" y="14"/>
                  </a:cubicBezTo>
                  <a:cubicBezTo>
                    <a:pt x="15" y="10"/>
                    <a:pt x="7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8" name="Freeform 3170"/>
            <p:cNvSpPr/>
            <p:nvPr userDrawn="1"/>
          </p:nvSpPr>
          <p:spPr bwMode="auto">
            <a:xfrm>
              <a:off x="7562084" y="5136580"/>
              <a:ext cx="95118" cy="40191"/>
            </a:xfrm>
            <a:custGeom>
              <a:avLst/>
              <a:gdLst>
                <a:gd name="T0" fmla="*/ 11 w 52"/>
                <a:gd name="T1" fmla="*/ 0 h 22"/>
                <a:gd name="T2" fmla="*/ 8 w 52"/>
                <a:gd name="T3" fmla="*/ 0 h 22"/>
                <a:gd name="T4" fmla="*/ 2 w 52"/>
                <a:gd name="T5" fmla="*/ 9 h 22"/>
                <a:gd name="T6" fmla="*/ 4 w 52"/>
                <a:gd name="T7" fmla="*/ 13 h 22"/>
                <a:gd name="T8" fmla="*/ 32 w 52"/>
                <a:gd name="T9" fmla="*/ 22 h 22"/>
                <a:gd name="T10" fmla="*/ 27 w 52"/>
                <a:gd name="T11" fmla="*/ 17 h 22"/>
                <a:gd name="T12" fmla="*/ 20 w 52"/>
                <a:gd name="T13" fmla="*/ 8 h 22"/>
                <a:gd name="T14" fmla="*/ 42 w 52"/>
                <a:gd name="T15" fmla="*/ 22 h 22"/>
                <a:gd name="T16" fmla="*/ 49 w 52"/>
                <a:gd name="T17" fmla="*/ 21 h 22"/>
                <a:gd name="T18" fmla="*/ 50 w 52"/>
                <a:gd name="T19" fmla="*/ 16 h 22"/>
                <a:gd name="T20" fmla="*/ 46 w 52"/>
                <a:gd name="T21" fmla="*/ 14 h 22"/>
                <a:gd name="T22" fmla="*/ 23 w 52"/>
                <a:gd name="T23" fmla="*/ 4 h 22"/>
                <a:gd name="T24" fmla="*/ 11 w 52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22">
                  <a:moveTo>
                    <a:pt x="11" y="0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4" y="1"/>
                    <a:pt x="0" y="5"/>
                    <a:pt x="2" y="9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13" y="18"/>
                    <a:pt x="22" y="21"/>
                    <a:pt x="32" y="22"/>
                  </a:cubicBezTo>
                  <a:cubicBezTo>
                    <a:pt x="30" y="21"/>
                    <a:pt x="28" y="19"/>
                    <a:pt x="27" y="17"/>
                  </a:cubicBezTo>
                  <a:cubicBezTo>
                    <a:pt x="24" y="14"/>
                    <a:pt x="22" y="11"/>
                    <a:pt x="20" y="8"/>
                  </a:cubicBezTo>
                  <a:cubicBezTo>
                    <a:pt x="27" y="13"/>
                    <a:pt x="35" y="18"/>
                    <a:pt x="42" y="22"/>
                  </a:cubicBezTo>
                  <a:cubicBezTo>
                    <a:pt x="44" y="22"/>
                    <a:pt x="47" y="21"/>
                    <a:pt x="49" y="21"/>
                  </a:cubicBezTo>
                  <a:cubicBezTo>
                    <a:pt x="51" y="20"/>
                    <a:pt x="52" y="17"/>
                    <a:pt x="50" y="16"/>
                  </a:cubicBezTo>
                  <a:cubicBezTo>
                    <a:pt x="49" y="15"/>
                    <a:pt x="47" y="15"/>
                    <a:pt x="46" y="14"/>
                  </a:cubicBezTo>
                  <a:cubicBezTo>
                    <a:pt x="37" y="13"/>
                    <a:pt x="30" y="9"/>
                    <a:pt x="23" y="4"/>
                  </a:cubicBezTo>
                  <a:cubicBezTo>
                    <a:pt x="19" y="2"/>
                    <a:pt x="15" y="0"/>
                    <a:pt x="11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59" name="Freeform 3171"/>
            <p:cNvSpPr/>
            <p:nvPr userDrawn="1"/>
          </p:nvSpPr>
          <p:spPr bwMode="auto">
            <a:xfrm>
              <a:off x="7725525" y="5286625"/>
              <a:ext cx="40191" cy="30813"/>
            </a:xfrm>
            <a:custGeom>
              <a:avLst/>
              <a:gdLst>
                <a:gd name="T0" fmla="*/ 11 w 22"/>
                <a:gd name="T1" fmla="*/ 0 h 17"/>
                <a:gd name="T2" fmla="*/ 11 w 22"/>
                <a:gd name="T3" fmla="*/ 17 h 17"/>
                <a:gd name="T4" fmla="*/ 11 w 22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7">
                  <a:moveTo>
                    <a:pt x="11" y="0"/>
                  </a:moveTo>
                  <a:cubicBezTo>
                    <a:pt x="1" y="0"/>
                    <a:pt x="0" y="17"/>
                    <a:pt x="11" y="17"/>
                  </a:cubicBezTo>
                  <a:cubicBezTo>
                    <a:pt x="21" y="17"/>
                    <a:pt x="2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0" name="Freeform 3172"/>
            <p:cNvSpPr/>
            <p:nvPr userDrawn="1"/>
          </p:nvSpPr>
          <p:spPr bwMode="auto">
            <a:xfrm>
              <a:off x="7651843" y="5101748"/>
              <a:ext cx="17416" cy="10717"/>
            </a:xfrm>
            <a:custGeom>
              <a:avLst/>
              <a:gdLst>
                <a:gd name="T0" fmla="*/ 5 w 9"/>
                <a:gd name="T1" fmla="*/ 0 h 6"/>
                <a:gd name="T2" fmla="*/ 4 w 9"/>
                <a:gd name="T3" fmla="*/ 6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0" y="0"/>
                    <a:pt x="0" y="6"/>
                    <a:pt x="4" y="6"/>
                  </a:cubicBezTo>
                  <a:cubicBezTo>
                    <a:pt x="8" y="6"/>
                    <a:pt x="9" y="0"/>
                    <a:pt x="5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1" name="Freeform 3173"/>
            <p:cNvSpPr/>
            <p:nvPr userDrawn="1"/>
          </p:nvSpPr>
          <p:spPr bwMode="auto">
            <a:xfrm>
              <a:off x="7899685" y="5178110"/>
              <a:ext cx="34832" cy="32152"/>
            </a:xfrm>
            <a:custGeom>
              <a:avLst/>
              <a:gdLst>
                <a:gd name="T0" fmla="*/ 10 w 19"/>
                <a:gd name="T1" fmla="*/ 0 h 17"/>
                <a:gd name="T2" fmla="*/ 4 w 19"/>
                <a:gd name="T3" fmla="*/ 2 h 17"/>
                <a:gd name="T4" fmla="*/ 4 w 19"/>
                <a:gd name="T5" fmla="*/ 15 h 17"/>
                <a:gd name="T6" fmla="*/ 10 w 19"/>
                <a:gd name="T7" fmla="*/ 17 h 17"/>
                <a:gd name="T8" fmla="*/ 13 w 19"/>
                <a:gd name="T9" fmla="*/ 16 h 17"/>
                <a:gd name="T10" fmla="*/ 13 w 19"/>
                <a:gd name="T11" fmla="*/ 16 h 17"/>
                <a:gd name="T12" fmla="*/ 18 w 19"/>
                <a:gd name="T13" fmla="*/ 12 h 17"/>
                <a:gd name="T14" fmla="*/ 18 w 19"/>
                <a:gd name="T15" fmla="*/ 5 h 17"/>
                <a:gd name="T16" fmla="*/ 10 w 19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7">
                  <a:moveTo>
                    <a:pt x="10" y="0"/>
                  </a:moveTo>
                  <a:cubicBezTo>
                    <a:pt x="8" y="0"/>
                    <a:pt x="6" y="1"/>
                    <a:pt x="4" y="2"/>
                  </a:cubicBezTo>
                  <a:cubicBezTo>
                    <a:pt x="0" y="6"/>
                    <a:pt x="1" y="11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1" y="17"/>
                    <a:pt x="12" y="17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6"/>
                    <a:pt x="17" y="14"/>
                    <a:pt x="18" y="12"/>
                  </a:cubicBezTo>
                  <a:cubicBezTo>
                    <a:pt x="19" y="9"/>
                    <a:pt x="19" y="7"/>
                    <a:pt x="18" y="5"/>
                  </a:cubicBezTo>
                  <a:cubicBezTo>
                    <a:pt x="16" y="1"/>
                    <a:pt x="13" y="0"/>
                    <a:pt x="1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2" name="Freeform 3174"/>
            <p:cNvSpPr/>
            <p:nvPr userDrawn="1"/>
          </p:nvSpPr>
          <p:spPr bwMode="auto">
            <a:xfrm>
              <a:off x="7980066" y="5302701"/>
              <a:ext cx="25454" cy="18756"/>
            </a:xfrm>
            <a:custGeom>
              <a:avLst/>
              <a:gdLst>
                <a:gd name="T0" fmla="*/ 7 w 14"/>
                <a:gd name="T1" fmla="*/ 0 h 10"/>
                <a:gd name="T2" fmla="*/ 7 w 14"/>
                <a:gd name="T3" fmla="*/ 10 h 10"/>
                <a:gd name="T4" fmla="*/ 7 w 1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0">
                  <a:moveTo>
                    <a:pt x="7" y="0"/>
                  </a:moveTo>
                  <a:cubicBezTo>
                    <a:pt x="14" y="0"/>
                    <a:pt x="13" y="10"/>
                    <a:pt x="7" y="10"/>
                  </a:cubicBezTo>
                  <a:cubicBezTo>
                    <a:pt x="0" y="10"/>
                    <a:pt x="1" y="0"/>
                    <a:pt x="7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3" name="Freeform 3175"/>
            <p:cNvSpPr/>
            <p:nvPr userDrawn="1"/>
          </p:nvSpPr>
          <p:spPr bwMode="auto">
            <a:xfrm>
              <a:off x="7671938" y="5377723"/>
              <a:ext cx="211670" cy="109854"/>
            </a:xfrm>
            <a:custGeom>
              <a:avLst/>
              <a:gdLst>
                <a:gd name="T0" fmla="*/ 11 w 115"/>
                <a:gd name="T1" fmla="*/ 0 h 60"/>
                <a:gd name="T2" fmla="*/ 9 w 115"/>
                <a:gd name="T3" fmla="*/ 16 h 60"/>
                <a:gd name="T4" fmla="*/ 100 w 115"/>
                <a:gd name="T5" fmla="*/ 60 h 60"/>
                <a:gd name="T6" fmla="*/ 102 w 115"/>
                <a:gd name="T7" fmla="*/ 60 h 60"/>
                <a:gd name="T8" fmla="*/ 105 w 115"/>
                <a:gd name="T9" fmla="*/ 44 h 60"/>
                <a:gd name="T10" fmla="*/ 66 w 115"/>
                <a:gd name="T11" fmla="*/ 25 h 60"/>
                <a:gd name="T12" fmla="*/ 14 w 115"/>
                <a:gd name="T13" fmla="*/ 0 h 60"/>
                <a:gd name="T14" fmla="*/ 11 w 115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60">
                  <a:moveTo>
                    <a:pt x="11" y="0"/>
                  </a:moveTo>
                  <a:cubicBezTo>
                    <a:pt x="3" y="0"/>
                    <a:pt x="0" y="13"/>
                    <a:pt x="9" y="16"/>
                  </a:cubicBezTo>
                  <a:cubicBezTo>
                    <a:pt x="42" y="25"/>
                    <a:pt x="67" y="51"/>
                    <a:pt x="100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11" y="60"/>
                    <a:pt x="115" y="47"/>
                    <a:pt x="105" y="44"/>
                  </a:cubicBezTo>
                  <a:cubicBezTo>
                    <a:pt x="92" y="40"/>
                    <a:pt x="79" y="32"/>
                    <a:pt x="66" y="25"/>
                  </a:cubicBezTo>
                  <a:cubicBezTo>
                    <a:pt x="59" y="7"/>
                    <a:pt x="34" y="7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4" name="Freeform 3176"/>
            <p:cNvSpPr/>
            <p:nvPr userDrawn="1"/>
          </p:nvSpPr>
          <p:spPr bwMode="auto">
            <a:xfrm>
              <a:off x="7600935" y="5306720"/>
              <a:ext cx="24114" cy="18756"/>
            </a:xfrm>
            <a:custGeom>
              <a:avLst/>
              <a:gdLst>
                <a:gd name="T0" fmla="*/ 7 w 13"/>
                <a:gd name="T1" fmla="*/ 0 h 10"/>
                <a:gd name="T2" fmla="*/ 6 w 13"/>
                <a:gd name="T3" fmla="*/ 10 h 10"/>
                <a:gd name="T4" fmla="*/ 7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7" y="0"/>
                  </a:moveTo>
                  <a:cubicBezTo>
                    <a:pt x="0" y="0"/>
                    <a:pt x="0" y="10"/>
                    <a:pt x="6" y="10"/>
                  </a:cubicBezTo>
                  <a:cubicBezTo>
                    <a:pt x="13" y="10"/>
                    <a:pt x="13" y="0"/>
                    <a:pt x="7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5" name="Freeform 3177"/>
            <p:cNvSpPr/>
            <p:nvPr userDrawn="1"/>
          </p:nvSpPr>
          <p:spPr bwMode="auto">
            <a:xfrm>
              <a:off x="7685335" y="5490257"/>
              <a:ext cx="18756" cy="17416"/>
            </a:xfrm>
            <a:custGeom>
              <a:avLst/>
              <a:gdLst>
                <a:gd name="T0" fmla="*/ 1 w 10"/>
                <a:gd name="T1" fmla="*/ 0 h 10"/>
                <a:gd name="T2" fmla="*/ 0 w 10"/>
                <a:gd name="T3" fmla="*/ 0 h 10"/>
                <a:gd name="T4" fmla="*/ 10 w 10"/>
                <a:gd name="T5" fmla="*/ 10 h 10"/>
                <a:gd name="T6" fmla="*/ 8 w 10"/>
                <a:gd name="T7" fmla="*/ 4 h 10"/>
                <a:gd name="T8" fmla="*/ 3 w 10"/>
                <a:gd name="T9" fmla="*/ 0 h 10"/>
                <a:gd name="T10" fmla="*/ 1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3" y="3"/>
                    <a:pt x="7" y="6"/>
                    <a:pt x="10" y="10"/>
                  </a:cubicBezTo>
                  <a:cubicBezTo>
                    <a:pt x="10" y="7"/>
                    <a:pt x="10" y="5"/>
                    <a:pt x="8" y="4"/>
                  </a:cubicBezTo>
                  <a:cubicBezTo>
                    <a:pt x="6" y="2"/>
                    <a:pt x="5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6" name="Freeform 3178"/>
            <p:cNvSpPr/>
            <p:nvPr userDrawn="1"/>
          </p:nvSpPr>
          <p:spPr bwMode="auto">
            <a:xfrm>
              <a:off x="7475004" y="5237056"/>
              <a:ext cx="96457" cy="64305"/>
            </a:xfrm>
            <a:custGeom>
              <a:avLst/>
              <a:gdLst>
                <a:gd name="T0" fmla="*/ 8 w 53"/>
                <a:gd name="T1" fmla="*/ 0 h 35"/>
                <a:gd name="T2" fmla="*/ 4 w 53"/>
                <a:gd name="T3" fmla="*/ 2 h 35"/>
                <a:gd name="T4" fmla="*/ 19 w 53"/>
                <a:gd name="T5" fmla="*/ 25 h 35"/>
                <a:gd name="T6" fmla="*/ 49 w 53"/>
                <a:gd name="T7" fmla="*/ 35 h 35"/>
                <a:gd name="T8" fmla="*/ 49 w 53"/>
                <a:gd name="T9" fmla="*/ 35 h 35"/>
                <a:gd name="T10" fmla="*/ 51 w 53"/>
                <a:gd name="T11" fmla="*/ 31 h 35"/>
                <a:gd name="T12" fmla="*/ 27 w 53"/>
                <a:gd name="T13" fmla="*/ 16 h 35"/>
                <a:gd name="T14" fmla="*/ 8 w 53"/>
                <a:gd name="T15" fmla="*/ 0 h 35"/>
                <a:gd name="T16" fmla="*/ 8 w 53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5">
                  <a:moveTo>
                    <a:pt x="8" y="0"/>
                  </a:moveTo>
                  <a:cubicBezTo>
                    <a:pt x="6" y="0"/>
                    <a:pt x="5" y="1"/>
                    <a:pt x="4" y="2"/>
                  </a:cubicBezTo>
                  <a:cubicBezTo>
                    <a:pt x="0" y="12"/>
                    <a:pt x="12" y="21"/>
                    <a:pt x="19" y="25"/>
                  </a:cubicBezTo>
                  <a:cubicBezTo>
                    <a:pt x="28" y="31"/>
                    <a:pt x="38" y="33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2" y="35"/>
                    <a:pt x="53" y="32"/>
                    <a:pt x="51" y="31"/>
                  </a:cubicBezTo>
                  <a:cubicBezTo>
                    <a:pt x="43" y="27"/>
                    <a:pt x="34" y="22"/>
                    <a:pt x="27" y="16"/>
                  </a:cubicBezTo>
                  <a:cubicBezTo>
                    <a:pt x="21" y="12"/>
                    <a:pt x="16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7" name="Freeform 3179"/>
            <p:cNvSpPr/>
            <p:nvPr userDrawn="1"/>
          </p:nvSpPr>
          <p:spPr bwMode="auto">
            <a:xfrm>
              <a:off x="7521893" y="5400498"/>
              <a:ext cx="203632" cy="146026"/>
            </a:xfrm>
            <a:custGeom>
              <a:avLst/>
              <a:gdLst>
                <a:gd name="T0" fmla="*/ 8 w 111"/>
                <a:gd name="T1" fmla="*/ 0 h 80"/>
                <a:gd name="T2" fmla="*/ 4 w 111"/>
                <a:gd name="T3" fmla="*/ 10 h 80"/>
                <a:gd name="T4" fmla="*/ 3 w 111"/>
                <a:gd name="T5" fmla="*/ 10 h 80"/>
                <a:gd name="T6" fmla="*/ 47 w 111"/>
                <a:gd name="T7" fmla="*/ 44 h 80"/>
                <a:gd name="T8" fmla="*/ 52 w 111"/>
                <a:gd name="T9" fmla="*/ 47 h 80"/>
                <a:gd name="T10" fmla="*/ 89 w 111"/>
                <a:gd name="T11" fmla="*/ 78 h 80"/>
                <a:gd name="T12" fmla="*/ 93 w 111"/>
                <a:gd name="T13" fmla="*/ 80 h 80"/>
                <a:gd name="T14" fmla="*/ 95 w 111"/>
                <a:gd name="T15" fmla="*/ 79 h 80"/>
                <a:gd name="T16" fmla="*/ 98 w 111"/>
                <a:gd name="T17" fmla="*/ 80 h 80"/>
                <a:gd name="T18" fmla="*/ 105 w 111"/>
                <a:gd name="T19" fmla="*/ 65 h 80"/>
                <a:gd name="T20" fmla="*/ 99 w 111"/>
                <a:gd name="T21" fmla="*/ 59 h 80"/>
                <a:gd name="T22" fmla="*/ 97 w 111"/>
                <a:gd name="T23" fmla="*/ 64 h 80"/>
                <a:gd name="T24" fmla="*/ 91 w 111"/>
                <a:gd name="T25" fmla="*/ 66 h 80"/>
                <a:gd name="T26" fmla="*/ 85 w 111"/>
                <a:gd name="T27" fmla="*/ 64 h 80"/>
                <a:gd name="T28" fmla="*/ 82 w 111"/>
                <a:gd name="T29" fmla="*/ 58 h 80"/>
                <a:gd name="T30" fmla="*/ 89 w 111"/>
                <a:gd name="T31" fmla="*/ 49 h 80"/>
                <a:gd name="T32" fmla="*/ 57 w 111"/>
                <a:gd name="T33" fmla="*/ 27 h 80"/>
                <a:gd name="T34" fmla="*/ 10 w 111"/>
                <a:gd name="T35" fmla="*/ 0 h 80"/>
                <a:gd name="T36" fmla="*/ 8 w 111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80">
                  <a:moveTo>
                    <a:pt x="8" y="0"/>
                  </a:moveTo>
                  <a:cubicBezTo>
                    <a:pt x="3" y="0"/>
                    <a:pt x="0" y="7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5" y="25"/>
                    <a:pt x="31" y="34"/>
                    <a:pt x="47" y="44"/>
                  </a:cubicBezTo>
                  <a:cubicBezTo>
                    <a:pt x="48" y="45"/>
                    <a:pt x="50" y="46"/>
                    <a:pt x="52" y="47"/>
                  </a:cubicBezTo>
                  <a:cubicBezTo>
                    <a:pt x="64" y="57"/>
                    <a:pt x="77" y="68"/>
                    <a:pt x="89" y="78"/>
                  </a:cubicBezTo>
                  <a:cubicBezTo>
                    <a:pt x="90" y="79"/>
                    <a:pt x="92" y="80"/>
                    <a:pt x="93" y="80"/>
                  </a:cubicBezTo>
                  <a:cubicBezTo>
                    <a:pt x="94" y="80"/>
                    <a:pt x="95" y="80"/>
                    <a:pt x="95" y="79"/>
                  </a:cubicBezTo>
                  <a:cubicBezTo>
                    <a:pt x="96" y="80"/>
                    <a:pt x="97" y="80"/>
                    <a:pt x="98" y="80"/>
                  </a:cubicBezTo>
                  <a:cubicBezTo>
                    <a:pt x="105" y="80"/>
                    <a:pt x="111" y="72"/>
                    <a:pt x="105" y="65"/>
                  </a:cubicBezTo>
                  <a:cubicBezTo>
                    <a:pt x="103" y="63"/>
                    <a:pt x="101" y="61"/>
                    <a:pt x="99" y="59"/>
                  </a:cubicBezTo>
                  <a:cubicBezTo>
                    <a:pt x="99" y="61"/>
                    <a:pt x="98" y="63"/>
                    <a:pt x="97" y="64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9" y="66"/>
                    <a:pt x="87" y="66"/>
                    <a:pt x="85" y="64"/>
                  </a:cubicBezTo>
                  <a:cubicBezTo>
                    <a:pt x="84" y="62"/>
                    <a:pt x="82" y="61"/>
                    <a:pt x="82" y="58"/>
                  </a:cubicBezTo>
                  <a:cubicBezTo>
                    <a:pt x="81" y="53"/>
                    <a:pt x="84" y="50"/>
                    <a:pt x="89" y="49"/>
                  </a:cubicBezTo>
                  <a:cubicBezTo>
                    <a:pt x="79" y="41"/>
                    <a:pt x="68" y="34"/>
                    <a:pt x="57" y="27"/>
                  </a:cubicBezTo>
                  <a:cubicBezTo>
                    <a:pt x="42" y="17"/>
                    <a:pt x="27" y="6"/>
                    <a:pt x="10" y="0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8" name="Freeform 3180"/>
            <p:cNvSpPr/>
            <p:nvPr userDrawn="1"/>
          </p:nvSpPr>
          <p:spPr bwMode="auto">
            <a:xfrm>
              <a:off x="7670598" y="5490257"/>
              <a:ext cx="33492" cy="30813"/>
            </a:xfrm>
            <a:custGeom>
              <a:avLst/>
              <a:gdLst>
                <a:gd name="T0" fmla="*/ 8 w 18"/>
                <a:gd name="T1" fmla="*/ 0 h 17"/>
                <a:gd name="T2" fmla="*/ 1 w 18"/>
                <a:gd name="T3" fmla="*/ 9 h 17"/>
                <a:gd name="T4" fmla="*/ 4 w 18"/>
                <a:gd name="T5" fmla="*/ 15 h 17"/>
                <a:gd name="T6" fmla="*/ 10 w 18"/>
                <a:gd name="T7" fmla="*/ 17 h 17"/>
                <a:gd name="T8" fmla="*/ 16 w 18"/>
                <a:gd name="T9" fmla="*/ 15 h 17"/>
                <a:gd name="T10" fmla="*/ 18 w 18"/>
                <a:gd name="T11" fmla="*/ 10 h 17"/>
                <a:gd name="T12" fmla="*/ 8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8" y="0"/>
                  </a:moveTo>
                  <a:cubicBezTo>
                    <a:pt x="3" y="1"/>
                    <a:pt x="0" y="4"/>
                    <a:pt x="1" y="9"/>
                  </a:cubicBezTo>
                  <a:cubicBezTo>
                    <a:pt x="1" y="12"/>
                    <a:pt x="3" y="13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2" y="17"/>
                    <a:pt x="14" y="17"/>
                    <a:pt x="16" y="15"/>
                  </a:cubicBezTo>
                  <a:cubicBezTo>
                    <a:pt x="17" y="14"/>
                    <a:pt x="18" y="12"/>
                    <a:pt x="18" y="10"/>
                  </a:cubicBezTo>
                  <a:cubicBezTo>
                    <a:pt x="15" y="6"/>
                    <a:pt x="11" y="3"/>
                    <a:pt x="8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69" name="Freeform 3181"/>
            <p:cNvSpPr/>
            <p:nvPr userDrawn="1"/>
          </p:nvSpPr>
          <p:spPr bwMode="auto">
            <a:xfrm>
              <a:off x="7469645" y="5152656"/>
              <a:ext cx="408604" cy="409944"/>
            </a:xfrm>
            <a:custGeom>
              <a:avLst/>
              <a:gdLst>
                <a:gd name="T0" fmla="*/ 25 w 223"/>
                <a:gd name="T1" fmla="*/ 0 h 224"/>
                <a:gd name="T2" fmla="*/ 24 w 223"/>
                <a:gd name="T3" fmla="*/ 22 h 224"/>
                <a:gd name="T4" fmla="*/ 203 w 223"/>
                <a:gd name="T5" fmla="*/ 201 h 224"/>
                <a:gd name="T6" fmla="*/ 223 w 223"/>
                <a:gd name="T7" fmla="*/ 200 h 224"/>
                <a:gd name="T8" fmla="*/ 142 w 223"/>
                <a:gd name="T9" fmla="*/ 224 h 224"/>
                <a:gd name="T10" fmla="*/ 0 w 223"/>
                <a:gd name="T11" fmla="*/ 82 h 224"/>
                <a:gd name="T12" fmla="*/ 25 w 223"/>
                <a:gd name="T1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24">
                  <a:moveTo>
                    <a:pt x="25" y="0"/>
                  </a:moveTo>
                  <a:cubicBezTo>
                    <a:pt x="25" y="7"/>
                    <a:pt x="24" y="14"/>
                    <a:pt x="24" y="22"/>
                  </a:cubicBezTo>
                  <a:cubicBezTo>
                    <a:pt x="24" y="119"/>
                    <a:pt x="105" y="201"/>
                    <a:pt x="203" y="201"/>
                  </a:cubicBezTo>
                  <a:cubicBezTo>
                    <a:pt x="210" y="201"/>
                    <a:pt x="216" y="201"/>
                    <a:pt x="223" y="200"/>
                  </a:cubicBezTo>
                  <a:cubicBezTo>
                    <a:pt x="200" y="215"/>
                    <a:pt x="172" y="224"/>
                    <a:pt x="142" y="224"/>
                  </a:cubicBezTo>
                  <a:cubicBezTo>
                    <a:pt x="64" y="224"/>
                    <a:pt x="0" y="160"/>
                    <a:pt x="0" y="82"/>
                  </a:cubicBezTo>
                  <a:cubicBezTo>
                    <a:pt x="0" y="51"/>
                    <a:pt x="9" y="23"/>
                    <a:pt x="25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99" name="Freeform 3211"/>
            <p:cNvSpPr/>
            <p:nvPr userDrawn="1"/>
          </p:nvSpPr>
          <p:spPr bwMode="auto">
            <a:xfrm>
              <a:off x="9901175" y="2605913"/>
              <a:ext cx="148705" cy="136648"/>
            </a:xfrm>
            <a:custGeom>
              <a:avLst/>
              <a:gdLst>
                <a:gd name="T0" fmla="*/ 55 w 111"/>
                <a:gd name="T1" fmla="*/ 0 h 102"/>
                <a:gd name="T2" fmla="*/ 69 w 111"/>
                <a:gd name="T3" fmla="*/ 39 h 102"/>
                <a:gd name="T4" fmla="*/ 111 w 111"/>
                <a:gd name="T5" fmla="*/ 39 h 102"/>
                <a:gd name="T6" fmla="*/ 77 w 111"/>
                <a:gd name="T7" fmla="*/ 64 h 102"/>
                <a:gd name="T8" fmla="*/ 89 w 111"/>
                <a:gd name="T9" fmla="*/ 102 h 102"/>
                <a:gd name="T10" fmla="*/ 55 w 111"/>
                <a:gd name="T11" fmla="*/ 78 h 102"/>
                <a:gd name="T12" fmla="*/ 22 w 111"/>
                <a:gd name="T13" fmla="*/ 102 h 102"/>
                <a:gd name="T14" fmla="*/ 34 w 111"/>
                <a:gd name="T15" fmla="*/ 64 h 102"/>
                <a:gd name="T16" fmla="*/ 0 w 111"/>
                <a:gd name="T17" fmla="*/ 39 h 102"/>
                <a:gd name="T18" fmla="*/ 43 w 111"/>
                <a:gd name="T19" fmla="*/ 39 h 102"/>
                <a:gd name="T20" fmla="*/ 55 w 11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" h="102">
                  <a:moveTo>
                    <a:pt x="55" y="0"/>
                  </a:moveTo>
                  <a:lnTo>
                    <a:pt x="69" y="39"/>
                  </a:lnTo>
                  <a:lnTo>
                    <a:pt x="111" y="39"/>
                  </a:lnTo>
                  <a:lnTo>
                    <a:pt x="77" y="64"/>
                  </a:lnTo>
                  <a:lnTo>
                    <a:pt x="89" y="102"/>
                  </a:lnTo>
                  <a:lnTo>
                    <a:pt x="55" y="78"/>
                  </a:lnTo>
                  <a:lnTo>
                    <a:pt x="22" y="102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3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03" name="Freeform 3215"/>
            <p:cNvSpPr/>
            <p:nvPr userDrawn="1"/>
          </p:nvSpPr>
          <p:spPr bwMode="auto">
            <a:xfrm>
              <a:off x="7903704" y="3812970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8 w 109"/>
                <a:gd name="T3" fmla="*/ 39 h 103"/>
                <a:gd name="T4" fmla="*/ 109 w 109"/>
                <a:gd name="T5" fmla="*/ 39 h 103"/>
                <a:gd name="T6" fmla="*/ 76 w 109"/>
                <a:gd name="T7" fmla="*/ 64 h 103"/>
                <a:gd name="T8" fmla="*/ 89 w 109"/>
                <a:gd name="T9" fmla="*/ 103 h 103"/>
                <a:gd name="T10" fmla="*/ 55 w 109"/>
                <a:gd name="T11" fmla="*/ 79 h 103"/>
                <a:gd name="T12" fmla="*/ 22 w 109"/>
                <a:gd name="T13" fmla="*/ 103 h 103"/>
                <a:gd name="T14" fmla="*/ 34 w 109"/>
                <a:gd name="T15" fmla="*/ 64 h 103"/>
                <a:gd name="T16" fmla="*/ 0 w 109"/>
                <a:gd name="T17" fmla="*/ 39 h 103"/>
                <a:gd name="T18" fmla="*/ 42 w 109"/>
                <a:gd name="T19" fmla="*/ 39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8" y="39"/>
                  </a:lnTo>
                  <a:lnTo>
                    <a:pt x="109" y="39"/>
                  </a:lnTo>
                  <a:lnTo>
                    <a:pt x="76" y="64"/>
                  </a:lnTo>
                  <a:lnTo>
                    <a:pt x="89" y="103"/>
                  </a:lnTo>
                  <a:lnTo>
                    <a:pt x="55" y="79"/>
                  </a:lnTo>
                  <a:lnTo>
                    <a:pt x="22" y="103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2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04" name="Freeform 3216"/>
            <p:cNvSpPr/>
            <p:nvPr userDrawn="1"/>
          </p:nvSpPr>
          <p:spPr bwMode="auto">
            <a:xfrm>
              <a:off x="10273608" y="4604725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7 w 109"/>
                <a:gd name="T3" fmla="*/ 40 h 103"/>
                <a:gd name="T4" fmla="*/ 109 w 109"/>
                <a:gd name="T5" fmla="*/ 40 h 103"/>
                <a:gd name="T6" fmla="*/ 75 w 109"/>
                <a:gd name="T7" fmla="*/ 63 h 103"/>
                <a:gd name="T8" fmla="*/ 89 w 109"/>
                <a:gd name="T9" fmla="*/ 103 h 103"/>
                <a:gd name="T10" fmla="*/ 55 w 109"/>
                <a:gd name="T11" fmla="*/ 77 h 103"/>
                <a:gd name="T12" fmla="*/ 20 w 109"/>
                <a:gd name="T13" fmla="*/ 102 h 103"/>
                <a:gd name="T14" fmla="*/ 34 w 109"/>
                <a:gd name="T15" fmla="*/ 63 h 103"/>
                <a:gd name="T16" fmla="*/ 0 w 109"/>
                <a:gd name="T17" fmla="*/ 40 h 103"/>
                <a:gd name="T18" fmla="*/ 41 w 109"/>
                <a:gd name="T19" fmla="*/ 40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7" y="40"/>
                  </a:lnTo>
                  <a:lnTo>
                    <a:pt x="109" y="40"/>
                  </a:lnTo>
                  <a:lnTo>
                    <a:pt x="75" y="63"/>
                  </a:lnTo>
                  <a:lnTo>
                    <a:pt x="89" y="103"/>
                  </a:lnTo>
                  <a:lnTo>
                    <a:pt x="55" y="77"/>
                  </a:lnTo>
                  <a:lnTo>
                    <a:pt x="20" y="102"/>
                  </a:lnTo>
                  <a:lnTo>
                    <a:pt x="34" y="63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05" name="Freeform 3217"/>
            <p:cNvSpPr/>
            <p:nvPr userDrawn="1"/>
          </p:nvSpPr>
          <p:spPr bwMode="auto">
            <a:xfrm>
              <a:off x="10805463" y="3523598"/>
              <a:ext cx="120572" cy="120572"/>
            </a:xfrm>
            <a:custGeom>
              <a:avLst/>
              <a:gdLst>
                <a:gd name="T0" fmla="*/ 38 w 90"/>
                <a:gd name="T1" fmla="*/ 38 h 90"/>
                <a:gd name="T2" fmla="*/ 45 w 90"/>
                <a:gd name="T3" fmla="*/ 0 h 90"/>
                <a:gd name="T4" fmla="*/ 50 w 90"/>
                <a:gd name="T5" fmla="*/ 38 h 90"/>
                <a:gd name="T6" fmla="*/ 90 w 90"/>
                <a:gd name="T7" fmla="*/ 45 h 90"/>
                <a:gd name="T8" fmla="*/ 50 w 90"/>
                <a:gd name="T9" fmla="*/ 50 h 90"/>
                <a:gd name="T10" fmla="*/ 44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38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38" y="38"/>
                  </a:moveTo>
                  <a:lnTo>
                    <a:pt x="45" y="0"/>
                  </a:lnTo>
                  <a:lnTo>
                    <a:pt x="50" y="38"/>
                  </a:lnTo>
                  <a:lnTo>
                    <a:pt x="90" y="45"/>
                  </a:lnTo>
                  <a:lnTo>
                    <a:pt x="50" y="50"/>
                  </a:lnTo>
                  <a:lnTo>
                    <a:pt x="44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06" name="Freeform 3218"/>
            <p:cNvSpPr/>
            <p:nvPr userDrawn="1"/>
          </p:nvSpPr>
          <p:spPr bwMode="auto">
            <a:xfrm>
              <a:off x="8521299" y="2305824"/>
              <a:ext cx="120572" cy="120572"/>
            </a:xfrm>
            <a:custGeom>
              <a:avLst/>
              <a:gdLst>
                <a:gd name="T0" fmla="*/ 40 w 90"/>
                <a:gd name="T1" fmla="*/ 38 h 90"/>
                <a:gd name="T2" fmla="*/ 45 w 90"/>
                <a:gd name="T3" fmla="*/ 0 h 90"/>
                <a:gd name="T4" fmla="*/ 51 w 90"/>
                <a:gd name="T5" fmla="*/ 38 h 90"/>
                <a:gd name="T6" fmla="*/ 90 w 90"/>
                <a:gd name="T7" fmla="*/ 45 h 90"/>
                <a:gd name="T8" fmla="*/ 51 w 90"/>
                <a:gd name="T9" fmla="*/ 50 h 90"/>
                <a:gd name="T10" fmla="*/ 45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40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40" y="38"/>
                  </a:moveTo>
                  <a:lnTo>
                    <a:pt x="45" y="0"/>
                  </a:lnTo>
                  <a:lnTo>
                    <a:pt x="51" y="38"/>
                  </a:lnTo>
                  <a:lnTo>
                    <a:pt x="90" y="45"/>
                  </a:lnTo>
                  <a:lnTo>
                    <a:pt x="51" y="50"/>
                  </a:lnTo>
                  <a:lnTo>
                    <a:pt x="45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40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07" name="Freeform 3219"/>
            <p:cNvSpPr/>
            <p:nvPr userDrawn="1"/>
          </p:nvSpPr>
          <p:spPr bwMode="auto">
            <a:xfrm>
              <a:off x="10861730" y="5377723"/>
              <a:ext cx="120572" cy="121911"/>
            </a:xfrm>
            <a:custGeom>
              <a:avLst/>
              <a:gdLst>
                <a:gd name="T0" fmla="*/ 38 w 90"/>
                <a:gd name="T1" fmla="*/ 39 h 91"/>
                <a:gd name="T2" fmla="*/ 45 w 90"/>
                <a:gd name="T3" fmla="*/ 0 h 91"/>
                <a:gd name="T4" fmla="*/ 51 w 90"/>
                <a:gd name="T5" fmla="*/ 39 h 91"/>
                <a:gd name="T6" fmla="*/ 90 w 90"/>
                <a:gd name="T7" fmla="*/ 45 h 91"/>
                <a:gd name="T8" fmla="*/ 51 w 90"/>
                <a:gd name="T9" fmla="*/ 51 h 91"/>
                <a:gd name="T10" fmla="*/ 45 w 90"/>
                <a:gd name="T11" fmla="*/ 91 h 91"/>
                <a:gd name="T12" fmla="*/ 38 w 90"/>
                <a:gd name="T13" fmla="*/ 51 h 91"/>
                <a:gd name="T14" fmla="*/ 0 w 90"/>
                <a:gd name="T15" fmla="*/ 44 h 91"/>
                <a:gd name="T16" fmla="*/ 38 w 90"/>
                <a:gd name="T17" fmla="*/ 3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1">
                  <a:moveTo>
                    <a:pt x="38" y="39"/>
                  </a:moveTo>
                  <a:lnTo>
                    <a:pt x="45" y="0"/>
                  </a:lnTo>
                  <a:lnTo>
                    <a:pt x="51" y="39"/>
                  </a:lnTo>
                  <a:lnTo>
                    <a:pt x="90" y="45"/>
                  </a:lnTo>
                  <a:lnTo>
                    <a:pt x="51" y="51"/>
                  </a:lnTo>
                  <a:lnTo>
                    <a:pt x="45" y="91"/>
                  </a:lnTo>
                  <a:lnTo>
                    <a:pt x="38" y="51"/>
                  </a:lnTo>
                  <a:lnTo>
                    <a:pt x="0" y="44"/>
                  </a:lnTo>
                  <a:lnTo>
                    <a:pt x="38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14" name="Oval 3226"/>
            <p:cNvSpPr>
              <a:spLocks noChangeArrowheads="1"/>
            </p:cNvSpPr>
            <p:nvPr userDrawn="1"/>
          </p:nvSpPr>
          <p:spPr bwMode="auto">
            <a:xfrm>
              <a:off x="10242795" y="3515560"/>
              <a:ext cx="56267" cy="57606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18" name="Oval 3230"/>
            <p:cNvSpPr>
              <a:spLocks noChangeArrowheads="1"/>
            </p:cNvSpPr>
            <p:nvPr userDrawn="1"/>
          </p:nvSpPr>
          <p:spPr bwMode="auto">
            <a:xfrm>
              <a:off x="9043776" y="4267124"/>
              <a:ext cx="56267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7" name="任意多边形: 形状 1556"/>
            <p:cNvSpPr/>
            <p:nvPr userDrawn="1"/>
          </p:nvSpPr>
          <p:spPr bwMode="auto">
            <a:xfrm>
              <a:off x="8803021" y="4644902"/>
              <a:ext cx="2379342" cy="2204153"/>
            </a:xfrm>
            <a:custGeom>
              <a:avLst/>
              <a:gdLst>
                <a:gd name="connsiteX0" fmla="*/ 124237 w 2590514"/>
                <a:gd name="connsiteY0" fmla="*/ 0 h 2399776"/>
                <a:gd name="connsiteX1" fmla="*/ 2544816 w 2590514"/>
                <a:gd name="connsiteY1" fmla="*/ 2355559 h 2399776"/>
                <a:gd name="connsiteX2" fmla="*/ 2590514 w 2590514"/>
                <a:gd name="connsiteY2" fmla="*/ 2399776 h 2399776"/>
                <a:gd name="connsiteX3" fmla="*/ 2217816 w 2590514"/>
                <a:gd name="connsiteY3" fmla="*/ 2399776 h 2399776"/>
                <a:gd name="connsiteX4" fmla="*/ 2202624 w 2590514"/>
                <a:gd name="connsiteY4" fmla="*/ 2384116 h 2399776"/>
                <a:gd name="connsiteX5" fmla="*/ 0 w 2590514"/>
                <a:gd name="connsiteY5" fmla="*/ 121854 h 2399776"/>
                <a:gd name="connsiteX6" fmla="*/ 124237 w 2590514"/>
                <a:gd name="connsiteY6" fmla="*/ 0 h 2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0514" h="2399776">
                  <a:moveTo>
                    <a:pt x="124237" y="0"/>
                  </a:moveTo>
                  <a:cubicBezTo>
                    <a:pt x="702713" y="558312"/>
                    <a:pt x="1828120" y="1661122"/>
                    <a:pt x="2544816" y="2355559"/>
                  </a:cubicBezTo>
                  <a:lnTo>
                    <a:pt x="2590514" y="2399776"/>
                  </a:lnTo>
                  <a:lnTo>
                    <a:pt x="2217816" y="2399776"/>
                  </a:lnTo>
                  <a:lnTo>
                    <a:pt x="2202624" y="2384116"/>
                  </a:lnTo>
                  <a:cubicBezTo>
                    <a:pt x="1508386" y="1669275"/>
                    <a:pt x="519131" y="660087"/>
                    <a:pt x="0" y="121854"/>
                  </a:cubicBezTo>
                  <a:cubicBezTo>
                    <a:pt x="51026" y="90836"/>
                    <a:pt x="90959" y="48742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60" name="任意多边形: 形状 1559"/>
            <p:cNvSpPr/>
            <p:nvPr userDrawn="1"/>
          </p:nvSpPr>
          <p:spPr bwMode="auto">
            <a:xfrm>
              <a:off x="8996947" y="4835913"/>
              <a:ext cx="2099776" cy="1993278"/>
            </a:xfrm>
            <a:custGeom>
              <a:avLst/>
              <a:gdLst>
                <a:gd name="connsiteX0" fmla="*/ 70996 w 2286136"/>
                <a:gd name="connsiteY0" fmla="*/ 0 h 2170185"/>
                <a:gd name="connsiteX1" fmla="*/ 2254024 w 2286136"/>
                <a:gd name="connsiteY1" fmla="*/ 2138987 h 2170185"/>
                <a:gd name="connsiteX2" fmla="*/ 2286136 w 2286136"/>
                <a:gd name="connsiteY2" fmla="*/ 2170185 h 2170185"/>
                <a:gd name="connsiteX3" fmla="*/ 2056366 w 2286136"/>
                <a:gd name="connsiteY3" fmla="*/ 2170185 h 2170185"/>
                <a:gd name="connsiteX4" fmla="*/ 2021066 w 2286136"/>
                <a:gd name="connsiteY4" fmla="*/ 2133958 h 2170185"/>
                <a:gd name="connsiteX5" fmla="*/ 0 w 2286136"/>
                <a:gd name="connsiteY5" fmla="*/ 70910 h 2170185"/>
                <a:gd name="connsiteX6" fmla="*/ 70996 w 2286136"/>
                <a:gd name="connsiteY6" fmla="*/ 0 h 2170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136" h="2170185">
                  <a:moveTo>
                    <a:pt x="70996" y="0"/>
                  </a:moveTo>
                  <a:cubicBezTo>
                    <a:pt x="563946" y="479891"/>
                    <a:pt x="1682834" y="1583018"/>
                    <a:pt x="2254024" y="2138987"/>
                  </a:cubicBezTo>
                  <a:lnTo>
                    <a:pt x="2286136" y="2170185"/>
                  </a:lnTo>
                  <a:lnTo>
                    <a:pt x="2056366" y="2170185"/>
                  </a:lnTo>
                  <a:lnTo>
                    <a:pt x="2021066" y="2133958"/>
                  </a:lnTo>
                  <a:cubicBezTo>
                    <a:pt x="1438256" y="1536760"/>
                    <a:pt x="446498" y="532381"/>
                    <a:pt x="0" y="70910"/>
                  </a:cubicBezTo>
                  <a:cubicBezTo>
                    <a:pt x="28842" y="55399"/>
                    <a:pt x="53247" y="31023"/>
                    <a:pt x="70996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68" name="任意多边形: 形状 1567"/>
            <p:cNvSpPr/>
            <p:nvPr userDrawn="1"/>
          </p:nvSpPr>
          <p:spPr bwMode="auto">
            <a:xfrm>
              <a:off x="9873261" y="3335536"/>
              <a:ext cx="2317876" cy="2492810"/>
            </a:xfrm>
            <a:custGeom>
              <a:avLst/>
              <a:gdLst>
                <a:gd name="connsiteX0" fmla="*/ 124237 w 2523593"/>
                <a:gd name="connsiteY0" fmla="*/ 0 h 2714051"/>
                <a:gd name="connsiteX1" fmla="*/ 2385331 w 2523593"/>
                <a:gd name="connsiteY1" fmla="*/ 2200432 h 2714051"/>
                <a:gd name="connsiteX2" fmla="*/ 2523593 w 2523593"/>
                <a:gd name="connsiteY2" fmla="*/ 2334319 h 2714051"/>
                <a:gd name="connsiteX3" fmla="*/ 2523593 w 2523593"/>
                <a:gd name="connsiteY3" fmla="*/ 2714051 h 2714051"/>
                <a:gd name="connsiteX4" fmla="*/ 2499309 w 2523593"/>
                <a:gd name="connsiteY4" fmla="*/ 2688868 h 2714051"/>
                <a:gd name="connsiteX5" fmla="*/ 0 w 2523593"/>
                <a:gd name="connsiteY5" fmla="*/ 124000 h 2714051"/>
                <a:gd name="connsiteX6" fmla="*/ 124237 w 2523593"/>
                <a:gd name="connsiteY6" fmla="*/ 0 h 27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593" h="2714051">
                  <a:moveTo>
                    <a:pt x="124237" y="0"/>
                  </a:moveTo>
                  <a:cubicBezTo>
                    <a:pt x="661393" y="518141"/>
                    <a:pt x="1670139" y="1506971"/>
                    <a:pt x="2385331" y="2200432"/>
                  </a:cubicBezTo>
                  <a:lnTo>
                    <a:pt x="2523593" y="2334319"/>
                  </a:lnTo>
                  <a:lnTo>
                    <a:pt x="2523593" y="2714051"/>
                  </a:lnTo>
                  <a:lnTo>
                    <a:pt x="2499309" y="2688868"/>
                  </a:lnTo>
                  <a:cubicBezTo>
                    <a:pt x="1823901" y="1990090"/>
                    <a:pt x="598997" y="744689"/>
                    <a:pt x="0" y="124000"/>
                  </a:cubicBezTo>
                  <a:cubicBezTo>
                    <a:pt x="51026" y="90785"/>
                    <a:pt x="90959" y="50928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69" name="任意多边形: 形状 1568"/>
            <p:cNvSpPr/>
            <p:nvPr userDrawn="1"/>
          </p:nvSpPr>
          <p:spPr bwMode="auto">
            <a:xfrm>
              <a:off x="10064270" y="3528003"/>
              <a:ext cx="2126216" cy="2166724"/>
            </a:xfrm>
            <a:custGeom>
              <a:avLst/>
              <a:gdLst>
                <a:gd name="connsiteX0" fmla="*/ 73194 w 2314922"/>
                <a:gd name="connsiteY0" fmla="*/ 0 h 2359025"/>
                <a:gd name="connsiteX1" fmla="*/ 2255640 w 2314922"/>
                <a:gd name="connsiteY1" fmla="*/ 2138094 h 2359025"/>
                <a:gd name="connsiteX2" fmla="*/ 2314922 w 2314922"/>
                <a:gd name="connsiteY2" fmla="*/ 2195692 h 2359025"/>
                <a:gd name="connsiteX3" fmla="*/ 2314922 w 2314922"/>
                <a:gd name="connsiteY3" fmla="*/ 2302624 h 2359025"/>
                <a:gd name="connsiteX4" fmla="*/ 2310908 w 2314922"/>
                <a:gd name="connsiteY4" fmla="*/ 2307802 h 2359025"/>
                <a:gd name="connsiteX5" fmla="*/ 2244644 w 2314922"/>
                <a:gd name="connsiteY5" fmla="*/ 2359025 h 2359025"/>
                <a:gd name="connsiteX6" fmla="*/ 0 w 2314922"/>
                <a:gd name="connsiteY6" fmla="*/ 70882 h 2359025"/>
                <a:gd name="connsiteX7" fmla="*/ 73194 w 2314922"/>
                <a:gd name="connsiteY7" fmla="*/ 0 h 235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4922" h="2359025">
                  <a:moveTo>
                    <a:pt x="73194" y="0"/>
                  </a:moveTo>
                  <a:cubicBezTo>
                    <a:pt x="566014" y="477620"/>
                    <a:pt x="1684602" y="1582115"/>
                    <a:pt x="2255640" y="2138094"/>
                  </a:cubicBezTo>
                  <a:lnTo>
                    <a:pt x="2314922" y="2195692"/>
                  </a:lnTo>
                  <a:lnTo>
                    <a:pt x="2314922" y="2302624"/>
                  </a:lnTo>
                  <a:lnTo>
                    <a:pt x="2310908" y="2307802"/>
                  </a:lnTo>
                  <a:cubicBezTo>
                    <a:pt x="2291224" y="2327461"/>
                    <a:pt x="2269042" y="2344627"/>
                    <a:pt x="2244644" y="2359025"/>
                  </a:cubicBezTo>
                  <a:cubicBezTo>
                    <a:pt x="1734498" y="1834059"/>
                    <a:pt x="512364" y="595848"/>
                    <a:pt x="0" y="70882"/>
                  </a:cubicBezTo>
                  <a:cubicBezTo>
                    <a:pt x="31052" y="53161"/>
                    <a:pt x="55450" y="28796"/>
                    <a:pt x="73194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726" name="Freeform 3238"/>
            <p:cNvSpPr/>
            <p:nvPr userDrawn="1"/>
          </p:nvSpPr>
          <p:spPr bwMode="auto">
            <a:xfrm>
              <a:off x="8024400" y="2657522"/>
              <a:ext cx="3987879" cy="4043289"/>
            </a:xfrm>
            <a:custGeom>
              <a:avLst/>
              <a:gdLst>
                <a:gd name="T0" fmla="*/ 1415 w 1957"/>
                <a:gd name="T1" fmla="*/ 1800 h 1987"/>
                <a:gd name="T2" fmla="*/ 1377 w 1957"/>
                <a:gd name="T3" fmla="*/ 1773 h 1987"/>
                <a:gd name="T4" fmla="*/ 1337 w 1957"/>
                <a:gd name="T5" fmla="*/ 1654 h 1987"/>
                <a:gd name="T6" fmla="*/ 1160 w 1957"/>
                <a:gd name="T7" fmla="*/ 1634 h 1987"/>
                <a:gd name="T8" fmla="*/ 1122 w 1957"/>
                <a:gd name="T9" fmla="*/ 1499 h 1987"/>
                <a:gd name="T10" fmla="*/ 1106 w 1957"/>
                <a:gd name="T11" fmla="*/ 1486 h 1987"/>
                <a:gd name="T12" fmla="*/ 1080 w 1957"/>
                <a:gd name="T13" fmla="*/ 1385 h 1987"/>
                <a:gd name="T14" fmla="*/ 956 w 1957"/>
                <a:gd name="T15" fmla="*/ 1346 h 1987"/>
                <a:gd name="T16" fmla="*/ 914 w 1957"/>
                <a:gd name="T17" fmla="*/ 1247 h 1987"/>
                <a:gd name="T18" fmla="*/ 876 w 1957"/>
                <a:gd name="T19" fmla="*/ 1223 h 1987"/>
                <a:gd name="T20" fmla="*/ 857 w 1957"/>
                <a:gd name="T21" fmla="*/ 1196 h 1987"/>
                <a:gd name="T22" fmla="*/ 771 w 1957"/>
                <a:gd name="T23" fmla="*/ 1156 h 1987"/>
                <a:gd name="T24" fmla="*/ 745 w 1957"/>
                <a:gd name="T25" fmla="*/ 991 h 1987"/>
                <a:gd name="T26" fmla="*/ 694 w 1957"/>
                <a:gd name="T27" fmla="*/ 963 h 1987"/>
                <a:gd name="T28" fmla="*/ 664 w 1957"/>
                <a:gd name="T29" fmla="*/ 889 h 1987"/>
                <a:gd name="T30" fmla="*/ 561 w 1957"/>
                <a:gd name="T31" fmla="*/ 864 h 1987"/>
                <a:gd name="T32" fmla="*/ 541 w 1957"/>
                <a:gd name="T33" fmla="*/ 746 h 1987"/>
                <a:gd name="T34" fmla="*/ 0 w 1957"/>
                <a:gd name="T35" fmla="*/ 168 h 1987"/>
                <a:gd name="T36" fmla="*/ 169 w 1957"/>
                <a:gd name="T37" fmla="*/ 0 h 1987"/>
                <a:gd name="T38" fmla="*/ 812 w 1957"/>
                <a:gd name="T39" fmla="*/ 603 h 1987"/>
                <a:gd name="T40" fmla="*/ 928 w 1957"/>
                <a:gd name="T41" fmla="*/ 622 h 1987"/>
                <a:gd name="T42" fmla="*/ 957 w 1957"/>
                <a:gd name="T43" fmla="*/ 712 h 1987"/>
                <a:gd name="T44" fmla="*/ 1049 w 1957"/>
                <a:gd name="T45" fmla="*/ 753 h 1987"/>
                <a:gd name="T46" fmla="*/ 1088 w 1957"/>
                <a:gd name="T47" fmla="*/ 830 h 1987"/>
                <a:gd name="T48" fmla="*/ 1236 w 1957"/>
                <a:gd name="T49" fmla="*/ 863 h 1987"/>
                <a:gd name="T50" fmla="*/ 1275 w 1957"/>
                <a:gd name="T51" fmla="*/ 994 h 1987"/>
                <a:gd name="T52" fmla="*/ 1418 w 1957"/>
                <a:gd name="T53" fmla="*/ 1028 h 1987"/>
                <a:gd name="T54" fmla="*/ 1458 w 1957"/>
                <a:gd name="T55" fmla="*/ 1142 h 1987"/>
                <a:gd name="T56" fmla="*/ 1526 w 1957"/>
                <a:gd name="T57" fmla="*/ 1179 h 1987"/>
                <a:gd name="T58" fmla="*/ 1553 w 1957"/>
                <a:gd name="T59" fmla="*/ 1218 h 1987"/>
                <a:gd name="T60" fmla="*/ 1713 w 1957"/>
                <a:gd name="T61" fmla="*/ 1247 h 1987"/>
                <a:gd name="T62" fmla="*/ 1755 w 1957"/>
                <a:gd name="T63" fmla="*/ 1345 h 1987"/>
                <a:gd name="T64" fmla="*/ 1813 w 1957"/>
                <a:gd name="T65" fmla="*/ 1373 h 1987"/>
                <a:gd name="T66" fmla="*/ 1843 w 1957"/>
                <a:gd name="T67" fmla="*/ 1437 h 1987"/>
                <a:gd name="T68" fmla="*/ 1917 w 1957"/>
                <a:gd name="T69" fmla="*/ 1466 h 1987"/>
                <a:gd name="T70" fmla="*/ 1917 w 1957"/>
                <a:gd name="T71" fmla="*/ 1612 h 1987"/>
                <a:gd name="T72" fmla="*/ 1902 w 1957"/>
                <a:gd name="T73" fmla="*/ 1624 h 1987"/>
                <a:gd name="T74" fmla="*/ 1909 w 1957"/>
                <a:gd name="T75" fmla="*/ 1631 h 1987"/>
                <a:gd name="T76" fmla="*/ 1694 w 1957"/>
                <a:gd name="T77" fmla="*/ 1857 h 1987"/>
                <a:gd name="T78" fmla="*/ 1655 w 1957"/>
                <a:gd name="T79" fmla="*/ 1931 h 1987"/>
                <a:gd name="T80" fmla="*/ 1453 w 1957"/>
                <a:gd name="T81" fmla="*/ 1931 h 1987"/>
                <a:gd name="T82" fmla="*/ 1415 w 1957"/>
                <a:gd name="T83" fmla="*/ 1800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57" h="1987">
                  <a:moveTo>
                    <a:pt x="1415" y="1800"/>
                  </a:moveTo>
                  <a:cubicBezTo>
                    <a:pt x="1401" y="1793"/>
                    <a:pt x="1388" y="1784"/>
                    <a:pt x="1377" y="1773"/>
                  </a:cubicBezTo>
                  <a:cubicBezTo>
                    <a:pt x="1344" y="1741"/>
                    <a:pt x="1331" y="1696"/>
                    <a:pt x="1337" y="1654"/>
                  </a:cubicBezTo>
                  <a:cubicBezTo>
                    <a:pt x="1281" y="1689"/>
                    <a:pt x="1208" y="1682"/>
                    <a:pt x="1160" y="1634"/>
                  </a:cubicBezTo>
                  <a:cubicBezTo>
                    <a:pt x="1123" y="1598"/>
                    <a:pt x="1111" y="1546"/>
                    <a:pt x="1122" y="1499"/>
                  </a:cubicBezTo>
                  <a:cubicBezTo>
                    <a:pt x="1117" y="1496"/>
                    <a:pt x="1111" y="1491"/>
                    <a:pt x="1106" y="1486"/>
                  </a:cubicBezTo>
                  <a:cubicBezTo>
                    <a:pt x="1079" y="1459"/>
                    <a:pt x="1070" y="1420"/>
                    <a:pt x="1080" y="1385"/>
                  </a:cubicBezTo>
                  <a:cubicBezTo>
                    <a:pt x="1036" y="1392"/>
                    <a:pt x="990" y="1380"/>
                    <a:pt x="956" y="1346"/>
                  </a:cubicBezTo>
                  <a:cubicBezTo>
                    <a:pt x="928" y="1318"/>
                    <a:pt x="915" y="1283"/>
                    <a:pt x="914" y="1247"/>
                  </a:cubicBezTo>
                  <a:cubicBezTo>
                    <a:pt x="900" y="1242"/>
                    <a:pt x="887" y="1234"/>
                    <a:pt x="876" y="1223"/>
                  </a:cubicBezTo>
                  <a:cubicBezTo>
                    <a:pt x="868" y="1215"/>
                    <a:pt x="862" y="1206"/>
                    <a:pt x="857" y="1196"/>
                  </a:cubicBezTo>
                  <a:cubicBezTo>
                    <a:pt x="826" y="1193"/>
                    <a:pt x="795" y="1180"/>
                    <a:pt x="771" y="1156"/>
                  </a:cubicBezTo>
                  <a:cubicBezTo>
                    <a:pt x="726" y="1111"/>
                    <a:pt x="718" y="1044"/>
                    <a:pt x="745" y="991"/>
                  </a:cubicBezTo>
                  <a:cubicBezTo>
                    <a:pt x="726" y="987"/>
                    <a:pt x="709" y="977"/>
                    <a:pt x="694" y="963"/>
                  </a:cubicBezTo>
                  <a:cubicBezTo>
                    <a:pt x="674" y="942"/>
                    <a:pt x="664" y="916"/>
                    <a:pt x="664" y="889"/>
                  </a:cubicBezTo>
                  <a:cubicBezTo>
                    <a:pt x="629" y="900"/>
                    <a:pt x="589" y="892"/>
                    <a:pt x="561" y="864"/>
                  </a:cubicBezTo>
                  <a:cubicBezTo>
                    <a:pt x="529" y="832"/>
                    <a:pt x="523" y="785"/>
                    <a:pt x="541" y="746"/>
                  </a:cubicBezTo>
                  <a:cubicBezTo>
                    <a:pt x="361" y="554"/>
                    <a:pt x="181" y="361"/>
                    <a:pt x="0" y="168"/>
                  </a:cubicBezTo>
                  <a:cubicBezTo>
                    <a:pt x="63" y="119"/>
                    <a:pt x="120" y="63"/>
                    <a:pt x="169" y="0"/>
                  </a:cubicBezTo>
                  <a:cubicBezTo>
                    <a:pt x="383" y="201"/>
                    <a:pt x="598" y="402"/>
                    <a:pt x="812" y="603"/>
                  </a:cubicBezTo>
                  <a:cubicBezTo>
                    <a:pt x="850" y="585"/>
                    <a:pt x="897" y="591"/>
                    <a:pt x="928" y="622"/>
                  </a:cubicBezTo>
                  <a:cubicBezTo>
                    <a:pt x="953" y="647"/>
                    <a:pt x="962" y="681"/>
                    <a:pt x="957" y="712"/>
                  </a:cubicBezTo>
                  <a:cubicBezTo>
                    <a:pt x="990" y="715"/>
                    <a:pt x="1023" y="728"/>
                    <a:pt x="1049" y="753"/>
                  </a:cubicBezTo>
                  <a:cubicBezTo>
                    <a:pt x="1070" y="775"/>
                    <a:pt x="1083" y="802"/>
                    <a:pt x="1088" y="830"/>
                  </a:cubicBezTo>
                  <a:cubicBezTo>
                    <a:pt x="1138" y="812"/>
                    <a:pt x="1196" y="823"/>
                    <a:pt x="1236" y="863"/>
                  </a:cubicBezTo>
                  <a:cubicBezTo>
                    <a:pt x="1272" y="898"/>
                    <a:pt x="1284" y="948"/>
                    <a:pt x="1275" y="994"/>
                  </a:cubicBezTo>
                  <a:cubicBezTo>
                    <a:pt x="1324" y="978"/>
                    <a:pt x="1379" y="990"/>
                    <a:pt x="1418" y="1028"/>
                  </a:cubicBezTo>
                  <a:cubicBezTo>
                    <a:pt x="1449" y="1059"/>
                    <a:pt x="1462" y="1101"/>
                    <a:pt x="1458" y="1142"/>
                  </a:cubicBezTo>
                  <a:cubicBezTo>
                    <a:pt x="1483" y="1148"/>
                    <a:pt x="1506" y="1160"/>
                    <a:pt x="1526" y="1179"/>
                  </a:cubicBezTo>
                  <a:cubicBezTo>
                    <a:pt x="1537" y="1191"/>
                    <a:pt x="1546" y="1204"/>
                    <a:pt x="1553" y="1218"/>
                  </a:cubicBezTo>
                  <a:cubicBezTo>
                    <a:pt x="1606" y="1194"/>
                    <a:pt x="1670" y="1203"/>
                    <a:pt x="1713" y="1247"/>
                  </a:cubicBezTo>
                  <a:cubicBezTo>
                    <a:pt x="1740" y="1274"/>
                    <a:pt x="1754" y="1309"/>
                    <a:pt x="1755" y="1345"/>
                  </a:cubicBezTo>
                  <a:cubicBezTo>
                    <a:pt x="1776" y="1348"/>
                    <a:pt x="1797" y="1357"/>
                    <a:pt x="1813" y="1373"/>
                  </a:cubicBezTo>
                  <a:cubicBezTo>
                    <a:pt x="1831" y="1391"/>
                    <a:pt x="1841" y="1414"/>
                    <a:pt x="1843" y="1437"/>
                  </a:cubicBezTo>
                  <a:cubicBezTo>
                    <a:pt x="1870" y="1436"/>
                    <a:pt x="1897" y="1446"/>
                    <a:pt x="1917" y="1466"/>
                  </a:cubicBezTo>
                  <a:cubicBezTo>
                    <a:pt x="1957" y="1507"/>
                    <a:pt x="1957" y="1572"/>
                    <a:pt x="1917" y="1612"/>
                  </a:cubicBezTo>
                  <a:cubicBezTo>
                    <a:pt x="1912" y="1617"/>
                    <a:pt x="1907" y="1621"/>
                    <a:pt x="1902" y="1624"/>
                  </a:cubicBezTo>
                  <a:cubicBezTo>
                    <a:pt x="1904" y="1627"/>
                    <a:pt x="1907" y="1629"/>
                    <a:pt x="1909" y="1631"/>
                  </a:cubicBezTo>
                  <a:cubicBezTo>
                    <a:pt x="1844" y="1714"/>
                    <a:pt x="1772" y="1789"/>
                    <a:pt x="1694" y="1857"/>
                  </a:cubicBezTo>
                  <a:cubicBezTo>
                    <a:pt x="1689" y="1884"/>
                    <a:pt x="1676" y="1910"/>
                    <a:pt x="1655" y="1931"/>
                  </a:cubicBezTo>
                  <a:cubicBezTo>
                    <a:pt x="1599" y="1987"/>
                    <a:pt x="1508" y="1987"/>
                    <a:pt x="1453" y="1931"/>
                  </a:cubicBezTo>
                  <a:cubicBezTo>
                    <a:pt x="1417" y="1895"/>
                    <a:pt x="1404" y="1846"/>
                    <a:pt x="1415" y="1800"/>
                  </a:cubicBezTo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27" name="Freeform 3239"/>
            <p:cNvSpPr/>
            <p:nvPr userDrawn="1"/>
          </p:nvSpPr>
          <p:spPr bwMode="auto">
            <a:xfrm>
              <a:off x="8609095" y="3259715"/>
              <a:ext cx="3201968" cy="3153853"/>
            </a:xfrm>
            <a:custGeom>
              <a:avLst/>
              <a:gdLst>
                <a:gd name="T0" fmla="*/ 1423 w 1571"/>
                <a:gd name="T1" fmla="*/ 1120 h 1550"/>
                <a:gd name="T2" fmla="*/ 1402 w 1571"/>
                <a:gd name="T3" fmla="*/ 1090 h 1550"/>
                <a:gd name="T4" fmla="*/ 1307 w 1571"/>
                <a:gd name="T5" fmla="*/ 1058 h 1550"/>
                <a:gd name="T6" fmla="*/ 1292 w 1571"/>
                <a:gd name="T7" fmla="*/ 918 h 1550"/>
                <a:gd name="T8" fmla="*/ 1185 w 1571"/>
                <a:gd name="T9" fmla="*/ 889 h 1550"/>
                <a:gd name="T10" fmla="*/ 1175 w 1571"/>
                <a:gd name="T11" fmla="*/ 876 h 1550"/>
                <a:gd name="T12" fmla="*/ 1095 w 1571"/>
                <a:gd name="T13" fmla="*/ 855 h 1550"/>
                <a:gd name="T14" fmla="*/ 1064 w 1571"/>
                <a:gd name="T15" fmla="*/ 757 h 1550"/>
                <a:gd name="T16" fmla="*/ 986 w 1571"/>
                <a:gd name="T17" fmla="*/ 724 h 1550"/>
                <a:gd name="T18" fmla="*/ 967 w 1571"/>
                <a:gd name="T19" fmla="*/ 694 h 1550"/>
                <a:gd name="T20" fmla="*/ 946 w 1571"/>
                <a:gd name="T21" fmla="*/ 679 h 1550"/>
                <a:gd name="T22" fmla="*/ 914 w 1571"/>
                <a:gd name="T23" fmla="*/ 610 h 1550"/>
                <a:gd name="T24" fmla="*/ 783 w 1571"/>
                <a:gd name="T25" fmla="*/ 590 h 1550"/>
                <a:gd name="T26" fmla="*/ 761 w 1571"/>
                <a:gd name="T27" fmla="*/ 549 h 1550"/>
                <a:gd name="T28" fmla="*/ 703 w 1571"/>
                <a:gd name="T29" fmla="*/ 526 h 1550"/>
                <a:gd name="T30" fmla="*/ 683 w 1571"/>
                <a:gd name="T31" fmla="*/ 444 h 1550"/>
                <a:gd name="T32" fmla="*/ 590 w 1571"/>
                <a:gd name="T33" fmla="*/ 429 h 1550"/>
                <a:gd name="T34" fmla="*/ 133 w 1571"/>
                <a:gd name="T35" fmla="*/ 0 h 1550"/>
                <a:gd name="T36" fmla="*/ 0 w 1571"/>
                <a:gd name="T37" fmla="*/ 134 h 1550"/>
                <a:gd name="T38" fmla="*/ 476 w 1571"/>
                <a:gd name="T39" fmla="*/ 643 h 1550"/>
                <a:gd name="T40" fmla="*/ 492 w 1571"/>
                <a:gd name="T41" fmla="*/ 735 h 1550"/>
                <a:gd name="T42" fmla="*/ 563 w 1571"/>
                <a:gd name="T43" fmla="*/ 758 h 1550"/>
                <a:gd name="T44" fmla="*/ 595 w 1571"/>
                <a:gd name="T45" fmla="*/ 830 h 1550"/>
                <a:gd name="T46" fmla="*/ 656 w 1571"/>
                <a:gd name="T47" fmla="*/ 861 h 1550"/>
                <a:gd name="T48" fmla="*/ 682 w 1571"/>
                <a:gd name="T49" fmla="*/ 979 h 1550"/>
                <a:gd name="T50" fmla="*/ 785 w 1571"/>
                <a:gd name="T51" fmla="*/ 1009 h 1550"/>
                <a:gd name="T52" fmla="*/ 813 w 1571"/>
                <a:gd name="T53" fmla="*/ 1123 h 1550"/>
                <a:gd name="T54" fmla="*/ 903 w 1571"/>
                <a:gd name="T55" fmla="*/ 1155 h 1550"/>
                <a:gd name="T56" fmla="*/ 932 w 1571"/>
                <a:gd name="T57" fmla="*/ 1208 h 1550"/>
                <a:gd name="T58" fmla="*/ 963 w 1571"/>
                <a:gd name="T59" fmla="*/ 1230 h 1550"/>
                <a:gd name="T60" fmla="*/ 986 w 1571"/>
                <a:gd name="T61" fmla="*/ 1356 h 1550"/>
                <a:gd name="T62" fmla="*/ 1063 w 1571"/>
                <a:gd name="T63" fmla="*/ 1389 h 1550"/>
                <a:gd name="T64" fmla="*/ 1086 w 1571"/>
                <a:gd name="T65" fmla="*/ 1436 h 1550"/>
                <a:gd name="T66" fmla="*/ 1136 w 1571"/>
                <a:gd name="T67" fmla="*/ 1459 h 1550"/>
                <a:gd name="T68" fmla="*/ 1159 w 1571"/>
                <a:gd name="T69" fmla="*/ 1518 h 1550"/>
                <a:gd name="T70" fmla="*/ 1274 w 1571"/>
                <a:gd name="T71" fmla="*/ 1518 h 1550"/>
                <a:gd name="T72" fmla="*/ 1284 w 1571"/>
                <a:gd name="T73" fmla="*/ 1506 h 1550"/>
                <a:gd name="T74" fmla="*/ 1289 w 1571"/>
                <a:gd name="T75" fmla="*/ 1512 h 1550"/>
                <a:gd name="T76" fmla="*/ 1468 w 1571"/>
                <a:gd name="T77" fmla="*/ 1341 h 1550"/>
                <a:gd name="T78" fmla="*/ 1527 w 1571"/>
                <a:gd name="T79" fmla="*/ 1310 h 1550"/>
                <a:gd name="T80" fmla="*/ 1527 w 1571"/>
                <a:gd name="T81" fmla="*/ 1150 h 1550"/>
                <a:gd name="T82" fmla="*/ 1423 w 1571"/>
                <a:gd name="T83" fmla="*/ 112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1" h="1550">
                  <a:moveTo>
                    <a:pt x="1423" y="1120"/>
                  </a:moveTo>
                  <a:cubicBezTo>
                    <a:pt x="1417" y="1109"/>
                    <a:pt x="1411" y="1099"/>
                    <a:pt x="1402" y="1090"/>
                  </a:cubicBezTo>
                  <a:cubicBezTo>
                    <a:pt x="1376" y="1064"/>
                    <a:pt x="1341" y="1054"/>
                    <a:pt x="1307" y="1058"/>
                  </a:cubicBezTo>
                  <a:cubicBezTo>
                    <a:pt x="1335" y="1015"/>
                    <a:pt x="1330" y="956"/>
                    <a:pt x="1292" y="918"/>
                  </a:cubicBezTo>
                  <a:cubicBezTo>
                    <a:pt x="1263" y="889"/>
                    <a:pt x="1222" y="880"/>
                    <a:pt x="1185" y="889"/>
                  </a:cubicBezTo>
                  <a:cubicBezTo>
                    <a:pt x="1182" y="884"/>
                    <a:pt x="1179" y="880"/>
                    <a:pt x="1175" y="876"/>
                  </a:cubicBezTo>
                  <a:cubicBezTo>
                    <a:pt x="1153" y="854"/>
                    <a:pt x="1122" y="848"/>
                    <a:pt x="1095" y="855"/>
                  </a:cubicBezTo>
                  <a:cubicBezTo>
                    <a:pt x="1101" y="821"/>
                    <a:pt x="1091" y="784"/>
                    <a:pt x="1064" y="757"/>
                  </a:cubicBezTo>
                  <a:cubicBezTo>
                    <a:pt x="1042" y="735"/>
                    <a:pt x="1014" y="724"/>
                    <a:pt x="986" y="724"/>
                  </a:cubicBezTo>
                  <a:cubicBezTo>
                    <a:pt x="982" y="713"/>
                    <a:pt x="976" y="702"/>
                    <a:pt x="967" y="694"/>
                  </a:cubicBezTo>
                  <a:cubicBezTo>
                    <a:pt x="961" y="687"/>
                    <a:pt x="953" y="683"/>
                    <a:pt x="946" y="679"/>
                  </a:cubicBezTo>
                  <a:cubicBezTo>
                    <a:pt x="943" y="654"/>
                    <a:pt x="933" y="630"/>
                    <a:pt x="914" y="610"/>
                  </a:cubicBezTo>
                  <a:cubicBezTo>
                    <a:pt x="878" y="575"/>
                    <a:pt x="825" y="569"/>
                    <a:pt x="783" y="590"/>
                  </a:cubicBezTo>
                  <a:cubicBezTo>
                    <a:pt x="780" y="575"/>
                    <a:pt x="773" y="561"/>
                    <a:pt x="761" y="549"/>
                  </a:cubicBezTo>
                  <a:cubicBezTo>
                    <a:pt x="745" y="533"/>
                    <a:pt x="724" y="525"/>
                    <a:pt x="703" y="526"/>
                  </a:cubicBezTo>
                  <a:cubicBezTo>
                    <a:pt x="711" y="498"/>
                    <a:pt x="705" y="466"/>
                    <a:pt x="683" y="444"/>
                  </a:cubicBezTo>
                  <a:cubicBezTo>
                    <a:pt x="658" y="419"/>
                    <a:pt x="620" y="414"/>
                    <a:pt x="590" y="429"/>
                  </a:cubicBezTo>
                  <a:cubicBezTo>
                    <a:pt x="438" y="286"/>
                    <a:pt x="285" y="143"/>
                    <a:pt x="133" y="0"/>
                  </a:cubicBezTo>
                  <a:cubicBezTo>
                    <a:pt x="94" y="50"/>
                    <a:pt x="49" y="95"/>
                    <a:pt x="0" y="134"/>
                  </a:cubicBezTo>
                  <a:cubicBezTo>
                    <a:pt x="159" y="303"/>
                    <a:pt x="317" y="473"/>
                    <a:pt x="476" y="643"/>
                  </a:cubicBezTo>
                  <a:cubicBezTo>
                    <a:pt x="462" y="673"/>
                    <a:pt x="467" y="710"/>
                    <a:pt x="492" y="735"/>
                  </a:cubicBezTo>
                  <a:cubicBezTo>
                    <a:pt x="511" y="755"/>
                    <a:pt x="538" y="762"/>
                    <a:pt x="563" y="758"/>
                  </a:cubicBezTo>
                  <a:cubicBezTo>
                    <a:pt x="565" y="784"/>
                    <a:pt x="575" y="810"/>
                    <a:pt x="595" y="830"/>
                  </a:cubicBezTo>
                  <a:cubicBezTo>
                    <a:pt x="613" y="847"/>
                    <a:pt x="634" y="858"/>
                    <a:pt x="656" y="861"/>
                  </a:cubicBezTo>
                  <a:cubicBezTo>
                    <a:pt x="642" y="901"/>
                    <a:pt x="650" y="947"/>
                    <a:pt x="682" y="979"/>
                  </a:cubicBezTo>
                  <a:cubicBezTo>
                    <a:pt x="710" y="1007"/>
                    <a:pt x="749" y="1017"/>
                    <a:pt x="785" y="1009"/>
                  </a:cubicBezTo>
                  <a:cubicBezTo>
                    <a:pt x="773" y="1048"/>
                    <a:pt x="782" y="1092"/>
                    <a:pt x="813" y="1123"/>
                  </a:cubicBezTo>
                  <a:cubicBezTo>
                    <a:pt x="838" y="1147"/>
                    <a:pt x="871" y="1158"/>
                    <a:pt x="903" y="1155"/>
                  </a:cubicBezTo>
                  <a:cubicBezTo>
                    <a:pt x="907" y="1174"/>
                    <a:pt x="917" y="1193"/>
                    <a:pt x="932" y="1208"/>
                  </a:cubicBezTo>
                  <a:cubicBezTo>
                    <a:pt x="941" y="1217"/>
                    <a:pt x="952" y="1224"/>
                    <a:pt x="963" y="1230"/>
                  </a:cubicBezTo>
                  <a:cubicBezTo>
                    <a:pt x="944" y="1271"/>
                    <a:pt x="951" y="1322"/>
                    <a:pt x="986" y="1356"/>
                  </a:cubicBezTo>
                  <a:cubicBezTo>
                    <a:pt x="1007" y="1378"/>
                    <a:pt x="1035" y="1389"/>
                    <a:pt x="1063" y="1389"/>
                  </a:cubicBezTo>
                  <a:cubicBezTo>
                    <a:pt x="1065" y="1406"/>
                    <a:pt x="1073" y="1423"/>
                    <a:pt x="1086" y="1436"/>
                  </a:cubicBezTo>
                  <a:cubicBezTo>
                    <a:pt x="1100" y="1450"/>
                    <a:pt x="1117" y="1457"/>
                    <a:pt x="1136" y="1459"/>
                  </a:cubicBezTo>
                  <a:cubicBezTo>
                    <a:pt x="1135" y="1480"/>
                    <a:pt x="1143" y="1502"/>
                    <a:pt x="1159" y="1518"/>
                  </a:cubicBezTo>
                  <a:cubicBezTo>
                    <a:pt x="1191" y="1550"/>
                    <a:pt x="1243" y="1550"/>
                    <a:pt x="1274" y="1518"/>
                  </a:cubicBezTo>
                  <a:cubicBezTo>
                    <a:pt x="1278" y="1514"/>
                    <a:pt x="1281" y="1510"/>
                    <a:pt x="1284" y="1506"/>
                  </a:cubicBezTo>
                  <a:cubicBezTo>
                    <a:pt x="1286" y="1508"/>
                    <a:pt x="1288" y="1510"/>
                    <a:pt x="1289" y="1512"/>
                  </a:cubicBezTo>
                  <a:cubicBezTo>
                    <a:pt x="1355" y="1460"/>
                    <a:pt x="1414" y="1403"/>
                    <a:pt x="1468" y="1341"/>
                  </a:cubicBezTo>
                  <a:cubicBezTo>
                    <a:pt x="1490" y="1337"/>
                    <a:pt x="1510" y="1327"/>
                    <a:pt x="1527" y="1310"/>
                  </a:cubicBezTo>
                  <a:cubicBezTo>
                    <a:pt x="1571" y="1266"/>
                    <a:pt x="1571" y="1194"/>
                    <a:pt x="1527" y="1150"/>
                  </a:cubicBezTo>
                  <a:cubicBezTo>
                    <a:pt x="1498" y="1122"/>
                    <a:pt x="1459" y="1112"/>
                    <a:pt x="1423" y="1120"/>
                  </a:cubicBezTo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28" name="Freeform 3240"/>
            <p:cNvSpPr/>
            <p:nvPr userDrawn="1"/>
          </p:nvSpPr>
          <p:spPr bwMode="auto">
            <a:xfrm>
              <a:off x="10131342" y="4418898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29" name="Freeform 3241"/>
            <p:cNvSpPr/>
            <p:nvPr userDrawn="1"/>
          </p:nvSpPr>
          <p:spPr bwMode="auto">
            <a:xfrm>
              <a:off x="10097806" y="4417439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4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4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0" name="Freeform 3242"/>
            <p:cNvSpPr/>
            <p:nvPr userDrawn="1"/>
          </p:nvSpPr>
          <p:spPr bwMode="auto">
            <a:xfrm>
              <a:off x="10392340" y="4902984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8" y="64"/>
                    <a:pt x="166" y="32"/>
                  </a:cubicBezTo>
                  <a:cubicBezTo>
                    <a:pt x="124" y="0"/>
                    <a:pt x="65" y="7"/>
                    <a:pt x="32" y="49"/>
                  </a:cubicBezTo>
                  <a:cubicBezTo>
                    <a:pt x="0" y="91"/>
                    <a:pt x="8" y="150"/>
                    <a:pt x="49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1" name="Freeform 3243"/>
            <p:cNvSpPr/>
            <p:nvPr userDrawn="1"/>
          </p:nvSpPr>
          <p:spPr bwMode="auto">
            <a:xfrm>
              <a:off x="10390883" y="4866532"/>
              <a:ext cx="437427" cy="437427"/>
            </a:xfrm>
            <a:custGeom>
              <a:avLst/>
              <a:gdLst>
                <a:gd name="T0" fmla="*/ 182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2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2" y="166"/>
                  </a:moveTo>
                  <a:cubicBezTo>
                    <a:pt x="215" y="125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7" y="151"/>
                    <a:pt x="49" y="183"/>
                  </a:cubicBezTo>
                  <a:cubicBezTo>
                    <a:pt x="90" y="215"/>
                    <a:pt x="150" y="208"/>
                    <a:pt x="182" y="16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2" name="Freeform 3244"/>
            <p:cNvSpPr/>
            <p:nvPr userDrawn="1"/>
          </p:nvSpPr>
          <p:spPr bwMode="auto">
            <a:xfrm>
              <a:off x="10500239" y="5643695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8" y="151"/>
                    <a:pt x="49" y="183"/>
                  </a:cubicBezTo>
                  <a:cubicBezTo>
                    <a:pt x="91" y="215"/>
                    <a:pt x="151" y="208"/>
                    <a:pt x="183" y="166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3" name="Freeform 3245"/>
            <p:cNvSpPr/>
            <p:nvPr userDrawn="1"/>
          </p:nvSpPr>
          <p:spPr bwMode="auto">
            <a:xfrm>
              <a:off x="10495865" y="5610158"/>
              <a:ext cx="440344" cy="437427"/>
            </a:xfrm>
            <a:custGeom>
              <a:avLst/>
              <a:gdLst>
                <a:gd name="T0" fmla="*/ 183 w 216"/>
                <a:gd name="T1" fmla="*/ 166 h 215"/>
                <a:gd name="T2" fmla="*/ 166 w 216"/>
                <a:gd name="T3" fmla="*/ 32 h 215"/>
                <a:gd name="T4" fmla="*/ 33 w 216"/>
                <a:gd name="T5" fmla="*/ 49 h 215"/>
                <a:gd name="T6" fmla="*/ 50 w 216"/>
                <a:gd name="T7" fmla="*/ 183 h 215"/>
                <a:gd name="T8" fmla="*/ 183 w 216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15">
                  <a:moveTo>
                    <a:pt x="183" y="166"/>
                  </a:moveTo>
                  <a:cubicBezTo>
                    <a:pt x="216" y="124"/>
                    <a:pt x="208" y="64"/>
                    <a:pt x="166" y="32"/>
                  </a:cubicBezTo>
                  <a:cubicBezTo>
                    <a:pt x="125" y="0"/>
                    <a:pt x="65" y="7"/>
                    <a:pt x="33" y="49"/>
                  </a:cubicBezTo>
                  <a:cubicBezTo>
                    <a:pt x="0" y="91"/>
                    <a:pt x="8" y="150"/>
                    <a:pt x="50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4" name="Freeform 3246"/>
            <p:cNvSpPr/>
            <p:nvPr userDrawn="1"/>
          </p:nvSpPr>
          <p:spPr bwMode="auto">
            <a:xfrm>
              <a:off x="10847265" y="5980514"/>
              <a:ext cx="425763" cy="427221"/>
            </a:xfrm>
            <a:custGeom>
              <a:avLst/>
              <a:gdLst>
                <a:gd name="T0" fmla="*/ 37 w 209"/>
                <a:gd name="T1" fmla="*/ 38 h 210"/>
                <a:gd name="T2" fmla="*/ 38 w 209"/>
                <a:gd name="T3" fmla="*/ 173 h 210"/>
                <a:gd name="T4" fmla="*/ 172 w 209"/>
                <a:gd name="T5" fmla="*/ 172 h 210"/>
                <a:gd name="T6" fmla="*/ 171 w 209"/>
                <a:gd name="T7" fmla="*/ 37 h 210"/>
                <a:gd name="T8" fmla="*/ 37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37" y="38"/>
                  </a:moveTo>
                  <a:cubicBezTo>
                    <a:pt x="0" y="76"/>
                    <a:pt x="0" y="136"/>
                    <a:pt x="38" y="173"/>
                  </a:cubicBezTo>
                  <a:cubicBezTo>
                    <a:pt x="75" y="210"/>
                    <a:pt x="135" y="210"/>
                    <a:pt x="172" y="172"/>
                  </a:cubicBezTo>
                  <a:cubicBezTo>
                    <a:pt x="209" y="135"/>
                    <a:pt x="209" y="74"/>
                    <a:pt x="171" y="37"/>
                  </a:cubicBezTo>
                  <a:cubicBezTo>
                    <a:pt x="134" y="0"/>
                    <a:pt x="74" y="1"/>
                    <a:pt x="37" y="38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5" name="Freeform 3247"/>
            <p:cNvSpPr/>
            <p:nvPr userDrawn="1"/>
          </p:nvSpPr>
          <p:spPr bwMode="auto">
            <a:xfrm>
              <a:off x="10844348" y="6016966"/>
              <a:ext cx="428679" cy="424305"/>
            </a:xfrm>
            <a:custGeom>
              <a:avLst/>
              <a:gdLst>
                <a:gd name="T0" fmla="*/ 37 w 210"/>
                <a:gd name="T1" fmla="*/ 38 h 209"/>
                <a:gd name="T2" fmla="*/ 38 w 210"/>
                <a:gd name="T3" fmla="*/ 172 h 209"/>
                <a:gd name="T4" fmla="*/ 173 w 210"/>
                <a:gd name="T5" fmla="*/ 172 h 209"/>
                <a:gd name="T6" fmla="*/ 172 w 210"/>
                <a:gd name="T7" fmla="*/ 37 h 209"/>
                <a:gd name="T8" fmla="*/ 37 w 210"/>
                <a:gd name="T9" fmla="*/ 3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209">
                  <a:moveTo>
                    <a:pt x="37" y="38"/>
                  </a:moveTo>
                  <a:cubicBezTo>
                    <a:pt x="0" y="75"/>
                    <a:pt x="1" y="135"/>
                    <a:pt x="38" y="172"/>
                  </a:cubicBezTo>
                  <a:cubicBezTo>
                    <a:pt x="75" y="209"/>
                    <a:pt x="136" y="209"/>
                    <a:pt x="173" y="172"/>
                  </a:cubicBezTo>
                  <a:cubicBezTo>
                    <a:pt x="210" y="134"/>
                    <a:pt x="209" y="74"/>
                    <a:pt x="172" y="37"/>
                  </a:cubicBezTo>
                  <a:cubicBezTo>
                    <a:pt x="134" y="0"/>
                    <a:pt x="74" y="0"/>
                    <a:pt x="37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6" name="Freeform 3248"/>
            <p:cNvSpPr/>
            <p:nvPr userDrawn="1"/>
          </p:nvSpPr>
          <p:spPr bwMode="auto">
            <a:xfrm>
              <a:off x="11073269" y="6081122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7" name="Freeform 3249"/>
            <p:cNvSpPr/>
            <p:nvPr userDrawn="1"/>
          </p:nvSpPr>
          <p:spPr bwMode="auto">
            <a:xfrm>
              <a:off x="11038275" y="6079664"/>
              <a:ext cx="425763" cy="427221"/>
            </a:xfrm>
            <a:custGeom>
              <a:avLst/>
              <a:gdLst>
                <a:gd name="T0" fmla="*/ 172 w 209"/>
                <a:gd name="T1" fmla="*/ 38 h 210"/>
                <a:gd name="T2" fmla="*/ 37 w 209"/>
                <a:gd name="T3" fmla="*/ 38 h 210"/>
                <a:gd name="T4" fmla="*/ 37 w 209"/>
                <a:gd name="T5" fmla="*/ 172 h 210"/>
                <a:gd name="T6" fmla="*/ 172 w 209"/>
                <a:gd name="T7" fmla="*/ 172 h 210"/>
                <a:gd name="T8" fmla="*/ 172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172" y="38"/>
                  </a:moveTo>
                  <a:cubicBezTo>
                    <a:pt x="134" y="0"/>
                    <a:pt x="74" y="0"/>
                    <a:pt x="37" y="38"/>
                  </a:cubicBezTo>
                  <a:cubicBezTo>
                    <a:pt x="0" y="75"/>
                    <a:pt x="0" y="135"/>
                    <a:pt x="37" y="172"/>
                  </a:cubicBezTo>
                  <a:cubicBezTo>
                    <a:pt x="74" y="210"/>
                    <a:pt x="134" y="210"/>
                    <a:pt x="172" y="172"/>
                  </a:cubicBezTo>
                  <a:cubicBezTo>
                    <a:pt x="209" y="135"/>
                    <a:pt x="209" y="75"/>
                    <a:pt x="172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8" name="Freeform 3250"/>
            <p:cNvSpPr/>
            <p:nvPr userDrawn="1"/>
          </p:nvSpPr>
          <p:spPr bwMode="auto">
            <a:xfrm>
              <a:off x="10889550" y="5007967"/>
              <a:ext cx="444717" cy="443260"/>
            </a:xfrm>
            <a:custGeom>
              <a:avLst/>
              <a:gdLst>
                <a:gd name="T0" fmla="*/ 26 w 218"/>
                <a:gd name="T1" fmla="*/ 62 h 218"/>
                <a:gd name="T2" fmla="*/ 61 w 218"/>
                <a:gd name="T3" fmla="*/ 192 h 218"/>
                <a:gd name="T4" fmla="*/ 191 w 218"/>
                <a:gd name="T5" fmla="*/ 157 h 218"/>
                <a:gd name="T6" fmla="*/ 156 w 218"/>
                <a:gd name="T7" fmla="*/ 27 h 218"/>
                <a:gd name="T8" fmla="*/ 26 w 218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8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39" name="Freeform 3251"/>
            <p:cNvSpPr/>
            <p:nvPr userDrawn="1"/>
          </p:nvSpPr>
          <p:spPr bwMode="auto">
            <a:xfrm>
              <a:off x="10898298" y="5041503"/>
              <a:ext cx="441801" cy="443260"/>
            </a:xfrm>
            <a:custGeom>
              <a:avLst/>
              <a:gdLst>
                <a:gd name="T0" fmla="*/ 26 w 217"/>
                <a:gd name="T1" fmla="*/ 62 h 218"/>
                <a:gd name="T2" fmla="*/ 61 w 217"/>
                <a:gd name="T3" fmla="*/ 192 h 218"/>
                <a:gd name="T4" fmla="*/ 191 w 217"/>
                <a:gd name="T5" fmla="*/ 157 h 218"/>
                <a:gd name="T6" fmla="*/ 156 w 217"/>
                <a:gd name="T7" fmla="*/ 27 h 218"/>
                <a:gd name="T8" fmla="*/ 26 w 217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7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0" name="Freeform 3252"/>
            <p:cNvSpPr/>
            <p:nvPr userDrawn="1"/>
          </p:nvSpPr>
          <p:spPr bwMode="auto">
            <a:xfrm>
              <a:off x="9879092" y="491610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59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1" name="Freeform 3253"/>
            <p:cNvSpPr/>
            <p:nvPr userDrawn="1"/>
          </p:nvSpPr>
          <p:spPr bwMode="auto">
            <a:xfrm>
              <a:off x="9914086" y="4910274"/>
              <a:ext cx="441801" cy="440344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2" name="Freeform 3254"/>
            <p:cNvSpPr/>
            <p:nvPr userDrawn="1"/>
          </p:nvSpPr>
          <p:spPr bwMode="auto">
            <a:xfrm>
              <a:off x="10406921" y="5457059"/>
              <a:ext cx="319322" cy="319323"/>
            </a:xfrm>
            <a:custGeom>
              <a:avLst/>
              <a:gdLst>
                <a:gd name="T0" fmla="*/ 40 w 157"/>
                <a:gd name="T1" fmla="*/ 136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40 h 157"/>
                <a:gd name="T8" fmla="*/ 40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6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40"/>
                  </a:cubicBezTo>
                  <a:cubicBezTo>
                    <a:pt x="0" y="71"/>
                    <a:pt x="8" y="114"/>
                    <a:pt x="40" y="13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3" name="Freeform 3255"/>
            <p:cNvSpPr/>
            <p:nvPr userDrawn="1"/>
          </p:nvSpPr>
          <p:spPr bwMode="auto">
            <a:xfrm>
              <a:off x="10433167" y="5452684"/>
              <a:ext cx="319322" cy="322239"/>
            </a:xfrm>
            <a:custGeom>
              <a:avLst/>
              <a:gdLst>
                <a:gd name="T0" fmla="*/ 39 w 157"/>
                <a:gd name="T1" fmla="*/ 136 h 158"/>
                <a:gd name="T2" fmla="*/ 135 w 157"/>
                <a:gd name="T3" fmla="*/ 118 h 158"/>
                <a:gd name="T4" fmla="*/ 117 w 157"/>
                <a:gd name="T5" fmla="*/ 22 h 158"/>
                <a:gd name="T6" fmla="*/ 21 w 157"/>
                <a:gd name="T7" fmla="*/ 40 h 158"/>
                <a:gd name="T8" fmla="*/ 39 w 157"/>
                <a:gd name="T9" fmla="*/ 13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39" y="136"/>
                  </a:moveTo>
                  <a:cubicBezTo>
                    <a:pt x="71" y="158"/>
                    <a:pt x="113" y="150"/>
                    <a:pt x="135" y="118"/>
                  </a:cubicBezTo>
                  <a:cubicBezTo>
                    <a:pt x="157" y="87"/>
                    <a:pt x="149" y="44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4" name="Freeform 3256"/>
            <p:cNvSpPr/>
            <p:nvPr userDrawn="1"/>
          </p:nvSpPr>
          <p:spPr bwMode="auto">
            <a:xfrm>
              <a:off x="9518944" y="4506383"/>
              <a:ext cx="319322" cy="319323"/>
            </a:xfrm>
            <a:custGeom>
              <a:avLst/>
              <a:gdLst>
                <a:gd name="T0" fmla="*/ 40 w 157"/>
                <a:gd name="T1" fmla="*/ 135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39 h 157"/>
                <a:gd name="T8" fmla="*/ 40 w 157"/>
                <a:gd name="T9" fmla="*/ 13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5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39"/>
                  </a:cubicBezTo>
                  <a:cubicBezTo>
                    <a:pt x="0" y="71"/>
                    <a:pt x="8" y="114"/>
                    <a:pt x="40" y="135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45" name="Freeform 3257"/>
            <p:cNvSpPr/>
            <p:nvPr userDrawn="1"/>
          </p:nvSpPr>
          <p:spPr bwMode="auto">
            <a:xfrm>
              <a:off x="9545190" y="4503467"/>
              <a:ext cx="319322" cy="319323"/>
            </a:xfrm>
            <a:custGeom>
              <a:avLst/>
              <a:gdLst>
                <a:gd name="T0" fmla="*/ 39 w 157"/>
                <a:gd name="T1" fmla="*/ 136 h 157"/>
                <a:gd name="T2" fmla="*/ 135 w 157"/>
                <a:gd name="T3" fmla="*/ 118 h 157"/>
                <a:gd name="T4" fmla="*/ 117 w 157"/>
                <a:gd name="T5" fmla="*/ 22 h 157"/>
                <a:gd name="T6" fmla="*/ 21 w 157"/>
                <a:gd name="T7" fmla="*/ 40 h 157"/>
                <a:gd name="T8" fmla="*/ 39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39" y="136"/>
                  </a:moveTo>
                  <a:cubicBezTo>
                    <a:pt x="71" y="157"/>
                    <a:pt x="113" y="149"/>
                    <a:pt x="135" y="118"/>
                  </a:cubicBezTo>
                  <a:cubicBezTo>
                    <a:pt x="157" y="86"/>
                    <a:pt x="149" y="43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5" name="任意多边形: 形状 1554"/>
            <p:cNvSpPr/>
            <p:nvPr userDrawn="1"/>
          </p:nvSpPr>
          <p:spPr bwMode="auto">
            <a:xfrm>
              <a:off x="10518301" y="5970052"/>
              <a:ext cx="1115767" cy="880961"/>
            </a:xfrm>
            <a:custGeom>
              <a:avLst/>
              <a:gdLst>
                <a:gd name="connsiteX0" fmla="*/ 607399 w 1214794"/>
                <a:gd name="connsiteY0" fmla="*/ 0 h 959148"/>
                <a:gd name="connsiteX1" fmla="*/ 1036737 w 1214794"/>
                <a:gd name="connsiteY1" fmla="*/ 177764 h 959148"/>
                <a:gd name="connsiteX2" fmla="*/ 1114637 w 1214794"/>
                <a:gd name="connsiteY2" fmla="*/ 941334 h 959148"/>
                <a:gd name="connsiteX3" fmla="*/ 1100165 w 1214794"/>
                <a:gd name="connsiteY3" fmla="*/ 959148 h 959148"/>
                <a:gd name="connsiteX4" fmla="*/ 114629 w 1214794"/>
                <a:gd name="connsiteY4" fmla="*/ 959148 h 959148"/>
                <a:gd name="connsiteX5" fmla="*/ 100159 w 1214794"/>
                <a:gd name="connsiteY5" fmla="*/ 941334 h 959148"/>
                <a:gd name="connsiteX6" fmla="*/ 178059 w 1214794"/>
                <a:gd name="connsiteY6" fmla="*/ 177764 h 959148"/>
                <a:gd name="connsiteX7" fmla="*/ 607399 w 1214794"/>
                <a:gd name="connsiteY7" fmla="*/ 0 h 95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794" h="959148">
                  <a:moveTo>
                    <a:pt x="607399" y="0"/>
                  </a:moveTo>
                  <a:cubicBezTo>
                    <a:pt x="762715" y="0"/>
                    <a:pt x="918031" y="59255"/>
                    <a:pt x="1036737" y="177764"/>
                  </a:cubicBezTo>
                  <a:cubicBezTo>
                    <a:pt x="1244471" y="385154"/>
                    <a:pt x="1270437" y="704477"/>
                    <a:pt x="1114637" y="941334"/>
                  </a:cubicBezTo>
                  <a:lnTo>
                    <a:pt x="1100165" y="959148"/>
                  </a:lnTo>
                  <a:lnTo>
                    <a:pt x="114629" y="959148"/>
                  </a:lnTo>
                  <a:lnTo>
                    <a:pt x="100159" y="941334"/>
                  </a:lnTo>
                  <a:cubicBezTo>
                    <a:pt x="-55643" y="704477"/>
                    <a:pt x="-29677" y="385154"/>
                    <a:pt x="178059" y="177764"/>
                  </a:cubicBezTo>
                  <a:cubicBezTo>
                    <a:pt x="296765" y="59255"/>
                    <a:pt x="452081" y="0"/>
                    <a:pt x="607399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66" name="任意多边形: 形状 1565"/>
            <p:cNvSpPr/>
            <p:nvPr userDrawn="1"/>
          </p:nvSpPr>
          <p:spPr bwMode="auto">
            <a:xfrm>
              <a:off x="11393290" y="5382356"/>
              <a:ext cx="804004" cy="1186110"/>
            </a:xfrm>
            <a:custGeom>
              <a:avLst/>
              <a:gdLst>
                <a:gd name="connsiteX0" fmla="*/ 645037 w 875361"/>
                <a:gd name="connsiteY0" fmla="*/ 0 h 1291379"/>
                <a:gd name="connsiteX1" fmla="*/ 768391 w 875361"/>
                <a:gd name="connsiteY1" fmla="*/ 11837 h 1291379"/>
                <a:gd name="connsiteX2" fmla="*/ 875361 w 875361"/>
                <a:gd name="connsiteY2" fmla="*/ 43567 h 1291379"/>
                <a:gd name="connsiteX3" fmla="*/ 875361 w 875361"/>
                <a:gd name="connsiteY3" fmla="*/ 1247813 h 1291379"/>
                <a:gd name="connsiteX4" fmla="*/ 768391 w 875361"/>
                <a:gd name="connsiteY4" fmla="*/ 1279543 h 1291379"/>
                <a:gd name="connsiteX5" fmla="*/ 188021 w 875361"/>
                <a:gd name="connsiteY5" fmla="*/ 1101992 h 1291379"/>
                <a:gd name="connsiteX6" fmla="*/ 188021 w 875361"/>
                <a:gd name="connsiteY6" fmla="*/ 189388 h 1291379"/>
                <a:gd name="connsiteX7" fmla="*/ 645037 w 875361"/>
                <a:gd name="connsiteY7" fmla="*/ 0 h 129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361" h="1291379">
                  <a:moveTo>
                    <a:pt x="645037" y="0"/>
                  </a:moveTo>
                  <a:cubicBezTo>
                    <a:pt x="686357" y="0"/>
                    <a:pt x="727677" y="3946"/>
                    <a:pt x="768391" y="11837"/>
                  </a:cubicBezTo>
                  <a:lnTo>
                    <a:pt x="875361" y="43567"/>
                  </a:lnTo>
                  <a:lnTo>
                    <a:pt x="875361" y="1247813"/>
                  </a:lnTo>
                  <a:lnTo>
                    <a:pt x="768391" y="1279543"/>
                  </a:lnTo>
                  <a:cubicBezTo>
                    <a:pt x="564823" y="1318999"/>
                    <a:pt x="346091" y="1259815"/>
                    <a:pt x="188021" y="1101992"/>
                  </a:cubicBezTo>
                  <a:cubicBezTo>
                    <a:pt x="-62673" y="849476"/>
                    <a:pt x="-62673" y="439690"/>
                    <a:pt x="188021" y="189388"/>
                  </a:cubicBezTo>
                  <a:cubicBezTo>
                    <a:pt x="314477" y="63129"/>
                    <a:pt x="479757" y="0"/>
                    <a:pt x="645037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749" name="Freeform 3261"/>
            <p:cNvSpPr/>
            <p:nvPr userDrawn="1"/>
          </p:nvSpPr>
          <p:spPr bwMode="auto">
            <a:xfrm>
              <a:off x="10444831" y="5462892"/>
              <a:ext cx="876312" cy="873397"/>
            </a:xfrm>
            <a:custGeom>
              <a:avLst/>
              <a:gdLst>
                <a:gd name="T0" fmla="*/ 353 w 430"/>
                <a:gd name="T1" fmla="*/ 76 h 429"/>
                <a:gd name="T2" fmla="*/ 77 w 430"/>
                <a:gd name="T3" fmla="*/ 76 h 429"/>
                <a:gd name="T4" fmla="*/ 77 w 430"/>
                <a:gd name="T5" fmla="*/ 353 h 429"/>
                <a:gd name="T6" fmla="*/ 353 w 430"/>
                <a:gd name="T7" fmla="*/ 353 h 429"/>
                <a:gd name="T8" fmla="*/ 353 w 430"/>
                <a:gd name="T9" fmla="*/ 7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429">
                  <a:moveTo>
                    <a:pt x="353" y="76"/>
                  </a:moveTo>
                  <a:cubicBezTo>
                    <a:pt x="277" y="0"/>
                    <a:pt x="153" y="0"/>
                    <a:pt x="77" y="76"/>
                  </a:cubicBezTo>
                  <a:cubicBezTo>
                    <a:pt x="0" y="152"/>
                    <a:pt x="0" y="276"/>
                    <a:pt x="77" y="353"/>
                  </a:cubicBezTo>
                  <a:cubicBezTo>
                    <a:pt x="153" y="429"/>
                    <a:pt x="277" y="429"/>
                    <a:pt x="353" y="353"/>
                  </a:cubicBezTo>
                  <a:cubicBezTo>
                    <a:pt x="430" y="276"/>
                    <a:pt x="430" y="152"/>
                    <a:pt x="353" y="7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0" name="Freeform 3262"/>
            <p:cNvSpPr/>
            <p:nvPr userDrawn="1"/>
          </p:nvSpPr>
          <p:spPr bwMode="auto">
            <a:xfrm>
              <a:off x="11074727" y="5725348"/>
              <a:ext cx="1038161" cy="1035245"/>
            </a:xfrm>
            <a:custGeom>
              <a:avLst/>
              <a:gdLst>
                <a:gd name="T0" fmla="*/ 425 w 509"/>
                <a:gd name="T1" fmla="*/ 101 h 509"/>
                <a:gd name="T2" fmla="*/ 101 w 509"/>
                <a:gd name="T3" fmla="*/ 85 h 509"/>
                <a:gd name="T4" fmla="*/ 85 w 509"/>
                <a:gd name="T5" fmla="*/ 408 h 509"/>
                <a:gd name="T6" fmla="*/ 408 w 509"/>
                <a:gd name="T7" fmla="*/ 425 h 509"/>
                <a:gd name="T8" fmla="*/ 425 w 509"/>
                <a:gd name="T9" fmla="*/ 10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" h="509">
                  <a:moveTo>
                    <a:pt x="425" y="101"/>
                  </a:moveTo>
                  <a:cubicBezTo>
                    <a:pt x="340" y="7"/>
                    <a:pt x="195" y="0"/>
                    <a:pt x="101" y="85"/>
                  </a:cubicBezTo>
                  <a:cubicBezTo>
                    <a:pt x="8" y="170"/>
                    <a:pt x="0" y="314"/>
                    <a:pt x="85" y="408"/>
                  </a:cubicBezTo>
                  <a:cubicBezTo>
                    <a:pt x="170" y="502"/>
                    <a:pt x="314" y="509"/>
                    <a:pt x="408" y="425"/>
                  </a:cubicBezTo>
                  <a:cubicBezTo>
                    <a:pt x="502" y="340"/>
                    <a:pt x="509" y="195"/>
                    <a:pt x="425" y="101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1" name="Freeform 3263"/>
            <p:cNvSpPr/>
            <p:nvPr userDrawn="1"/>
          </p:nvSpPr>
          <p:spPr bwMode="auto">
            <a:xfrm>
              <a:off x="9833892" y="5754510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2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2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2" name="Freeform 3264"/>
            <p:cNvSpPr/>
            <p:nvPr userDrawn="1"/>
          </p:nvSpPr>
          <p:spPr bwMode="auto">
            <a:xfrm>
              <a:off x="9905338" y="5735554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1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1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3" name="Freeform 3265"/>
            <p:cNvSpPr/>
            <p:nvPr userDrawn="1"/>
          </p:nvSpPr>
          <p:spPr bwMode="auto">
            <a:xfrm>
              <a:off x="10408380" y="5678689"/>
              <a:ext cx="443260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60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4" name="Freeform 3266"/>
            <p:cNvSpPr/>
            <p:nvPr userDrawn="1"/>
          </p:nvSpPr>
          <p:spPr bwMode="auto">
            <a:xfrm>
              <a:off x="10443374" y="567285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5" name="Freeform 3267"/>
            <p:cNvSpPr/>
            <p:nvPr userDrawn="1"/>
          </p:nvSpPr>
          <p:spPr bwMode="auto">
            <a:xfrm>
              <a:off x="11277402" y="5458517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8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2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6" name="Freeform 3268"/>
            <p:cNvSpPr/>
            <p:nvPr userDrawn="1"/>
          </p:nvSpPr>
          <p:spPr bwMode="auto">
            <a:xfrm>
              <a:off x="11319686" y="5448311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7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1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7" name="Freeform 3269"/>
            <p:cNvSpPr/>
            <p:nvPr userDrawn="1"/>
          </p:nvSpPr>
          <p:spPr bwMode="auto">
            <a:xfrm>
              <a:off x="10543982" y="5680147"/>
              <a:ext cx="734878" cy="734878"/>
            </a:xfrm>
            <a:custGeom>
              <a:avLst/>
              <a:gdLst>
                <a:gd name="T0" fmla="*/ 51 w 361"/>
                <a:gd name="T1" fmla="*/ 87 h 361"/>
                <a:gd name="T2" fmla="*/ 87 w 361"/>
                <a:gd name="T3" fmla="*/ 309 h 361"/>
                <a:gd name="T4" fmla="*/ 310 w 361"/>
                <a:gd name="T5" fmla="*/ 274 h 361"/>
                <a:gd name="T6" fmla="*/ 274 w 361"/>
                <a:gd name="T7" fmla="*/ 51 h 361"/>
                <a:gd name="T8" fmla="*/ 51 w 361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1" h="361">
                  <a:moveTo>
                    <a:pt x="51" y="87"/>
                  </a:moveTo>
                  <a:cubicBezTo>
                    <a:pt x="0" y="158"/>
                    <a:pt x="16" y="258"/>
                    <a:pt x="87" y="309"/>
                  </a:cubicBezTo>
                  <a:cubicBezTo>
                    <a:pt x="158" y="361"/>
                    <a:pt x="258" y="345"/>
                    <a:pt x="310" y="274"/>
                  </a:cubicBezTo>
                  <a:cubicBezTo>
                    <a:pt x="361" y="202"/>
                    <a:pt x="345" y="103"/>
                    <a:pt x="274" y="51"/>
                  </a:cubicBezTo>
                  <a:cubicBezTo>
                    <a:pt x="203" y="0"/>
                    <a:pt x="103" y="16"/>
                    <a:pt x="51" y="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58" name="Freeform 3270"/>
            <p:cNvSpPr/>
            <p:nvPr userDrawn="1"/>
          </p:nvSpPr>
          <p:spPr bwMode="auto">
            <a:xfrm>
              <a:off x="10549814" y="5739929"/>
              <a:ext cx="737794" cy="734878"/>
            </a:xfrm>
            <a:custGeom>
              <a:avLst/>
              <a:gdLst>
                <a:gd name="T0" fmla="*/ 52 w 362"/>
                <a:gd name="T1" fmla="*/ 87 h 361"/>
                <a:gd name="T2" fmla="*/ 88 w 362"/>
                <a:gd name="T3" fmla="*/ 310 h 361"/>
                <a:gd name="T4" fmla="*/ 310 w 362"/>
                <a:gd name="T5" fmla="*/ 274 h 361"/>
                <a:gd name="T6" fmla="*/ 274 w 362"/>
                <a:gd name="T7" fmla="*/ 51 h 361"/>
                <a:gd name="T8" fmla="*/ 52 w 362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361">
                  <a:moveTo>
                    <a:pt x="52" y="87"/>
                  </a:moveTo>
                  <a:cubicBezTo>
                    <a:pt x="0" y="158"/>
                    <a:pt x="16" y="258"/>
                    <a:pt x="88" y="310"/>
                  </a:cubicBezTo>
                  <a:cubicBezTo>
                    <a:pt x="159" y="361"/>
                    <a:pt x="259" y="345"/>
                    <a:pt x="310" y="274"/>
                  </a:cubicBezTo>
                  <a:cubicBezTo>
                    <a:pt x="362" y="202"/>
                    <a:pt x="346" y="103"/>
                    <a:pt x="274" y="51"/>
                  </a:cubicBezTo>
                  <a:cubicBezTo>
                    <a:pt x="203" y="0"/>
                    <a:pt x="104" y="16"/>
                    <a:pt x="52" y="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4" name="任意多边形: 形状 1563"/>
            <p:cNvSpPr/>
            <p:nvPr userDrawn="1"/>
          </p:nvSpPr>
          <p:spPr bwMode="auto">
            <a:xfrm>
              <a:off x="11406855" y="6022655"/>
              <a:ext cx="786353" cy="810760"/>
            </a:xfrm>
            <a:custGeom>
              <a:avLst/>
              <a:gdLst>
                <a:gd name="connsiteX0" fmla="*/ 676024 w 856144"/>
                <a:gd name="connsiteY0" fmla="*/ 1578 h 882717"/>
                <a:gd name="connsiteX1" fmla="*/ 795126 w 856144"/>
                <a:gd name="connsiteY1" fmla="*/ 21526 h 882717"/>
                <a:gd name="connsiteX2" fmla="*/ 856144 w 856144"/>
                <a:gd name="connsiteY2" fmla="*/ 44401 h 882717"/>
                <a:gd name="connsiteX3" fmla="*/ 856144 w 856144"/>
                <a:gd name="connsiteY3" fmla="*/ 882717 h 882717"/>
                <a:gd name="connsiteX4" fmla="*/ 56016 w 856144"/>
                <a:gd name="connsiteY4" fmla="*/ 882717 h 882717"/>
                <a:gd name="connsiteX5" fmla="*/ 30672 w 856144"/>
                <a:gd name="connsiteY5" fmla="*/ 824846 h 882717"/>
                <a:gd name="connsiteX6" fmla="*/ 218312 w 856144"/>
                <a:gd name="connsiteY6" fmla="*/ 152962 h 882717"/>
                <a:gd name="connsiteX7" fmla="*/ 676024 w 856144"/>
                <a:gd name="connsiteY7" fmla="*/ 1578 h 88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6144" h="882717">
                  <a:moveTo>
                    <a:pt x="676024" y="1578"/>
                  </a:moveTo>
                  <a:cubicBezTo>
                    <a:pt x="716198" y="4415"/>
                    <a:pt x="756096" y="11074"/>
                    <a:pt x="795126" y="21526"/>
                  </a:cubicBezTo>
                  <a:lnTo>
                    <a:pt x="856144" y="44401"/>
                  </a:lnTo>
                  <a:lnTo>
                    <a:pt x="856144" y="882717"/>
                  </a:lnTo>
                  <a:lnTo>
                    <a:pt x="56016" y="882717"/>
                  </a:lnTo>
                  <a:lnTo>
                    <a:pt x="30672" y="824846"/>
                  </a:lnTo>
                  <a:cubicBezTo>
                    <a:pt x="-45176" y="590921"/>
                    <a:pt x="20492" y="323994"/>
                    <a:pt x="218312" y="152962"/>
                  </a:cubicBezTo>
                  <a:cubicBezTo>
                    <a:pt x="350196" y="40047"/>
                    <a:pt x="515324" y="-9768"/>
                    <a:pt x="676024" y="157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62" name="任意多边形: 形状 1561"/>
            <p:cNvSpPr/>
            <p:nvPr userDrawn="1"/>
          </p:nvSpPr>
          <p:spPr bwMode="auto">
            <a:xfrm>
              <a:off x="11313892" y="6023747"/>
              <a:ext cx="884941" cy="828541"/>
            </a:xfrm>
            <a:custGeom>
              <a:avLst/>
              <a:gdLst>
                <a:gd name="connsiteX0" fmla="*/ 677017 w 963481"/>
                <a:gd name="connsiteY0" fmla="*/ 1579 h 902076"/>
                <a:gd name="connsiteX1" fmla="*/ 910499 w 963481"/>
                <a:gd name="connsiteY1" fmla="*/ 64161 h 902076"/>
                <a:gd name="connsiteX2" fmla="*/ 963481 w 963481"/>
                <a:gd name="connsiteY2" fmla="*/ 96956 h 902076"/>
                <a:gd name="connsiteX3" fmla="*/ 963481 w 963481"/>
                <a:gd name="connsiteY3" fmla="*/ 902076 h 902076"/>
                <a:gd name="connsiteX4" fmla="*/ 64393 w 963481"/>
                <a:gd name="connsiteY4" fmla="*/ 902076 h 902076"/>
                <a:gd name="connsiteX5" fmla="*/ 30753 w 963481"/>
                <a:gd name="connsiteY5" fmla="*/ 825013 h 902076"/>
                <a:gd name="connsiteX6" fmla="*/ 217753 w 963481"/>
                <a:gd name="connsiteY6" fmla="*/ 154242 h 902076"/>
                <a:gd name="connsiteX7" fmla="*/ 677017 w 963481"/>
                <a:gd name="connsiteY7" fmla="*/ 1579 h 90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3481" h="902076">
                  <a:moveTo>
                    <a:pt x="677017" y="1579"/>
                  </a:moveTo>
                  <a:cubicBezTo>
                    <a:pt x="757631" y="7259"/>
                    <a:pt x="837065" y="28247"/>
                    <a:pt x="910499" y="64161"/>
                  </a:cubicBezTo>
                  <a:lnTo>
                    <a:pt x="963481" y="96956"/>
                  </a:lnTo>
                  <a:lnTo>
                    <a:pt x="963481" y="902076"/>
                  </a:lnTo>
                  <a:lnTo>
                    <a:pt x="64393" y="902076"/>
                  </a:lnTo>
                  <a:lnTo>
                    <a:pt x="30753" y="825013"/>
                  </a:lnTo>
                  <a:cubicBezTo>
                    <a:pt x="-44899" y="591448"/>
                    <a:pt x="19621" y="325467"/>
                    <a:pt x="217753" y="154242"/>
                  </a:cubicBezTo>
                  <a:cubicBezTo>
                    <a:pt x="349845" y="40091"/>
                    <a:pt x="515789" y="-9780"/>
                    <a:pt x="677017" y="157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51" name="任意多边形: 形状 1550"/>
            <p:cNvSpPr/>
            <p:nvPr userDrawn="1"/>
          </p:nvSpPr>
          <p:spPr bwMode="auto">
            <a:xfrm>
              <a:off x="10722314" y="6184713"/>
              <a:ext cx="1157732" cy="652568"/>
            </a:xfrm>
            <a:custGeom>
              <a:avLst/>
              <a:gdLst>
                <a:gd name="connsiteX0" fmla="*/ 603283 w 1260483"/>
                <a:gd name="connsiteY0" fmla="*/ 603 h 710485"/>
                <a:gd name="connsiteX1" fmla="*/ 1200343 w 1260483"/>
                <a:gd name="connsiteY1" fmla="*/ 360707 h 710485"/>
                <a:gd name="connsiteX2" fmla="*/ 1260483 w 1260483"/>
                <a:gd name="connsiteY2" fmla="*/ 604653 h 710485"/>
                <a:gd name="connsiteX3" fmla="*/ 1254687 w 1260483"/>
                <a:gd name="connsiteY3" fmla="*/ 710485 h 710485"/>
                <a:gd name="connsiteX4" fmla="*/ 8021 w 1260483"/>
                <a:gd name="connsiteY4" fmla="*/ 710485 h 710485"/>
                <a:gd name="connsiteX5" fmla="*/ 575 w 1260483"/>
                <a:gd name="connsiteY5" fmla="*/ 658198 h 710485"/>
                <a:gd name="connsiteX6" fmla="*/ 360059 w 1260483"/>
                <a:gd name="connsiteY6" fmla="*/ 61659 h 710485"/>
                <a:gd name="connsiteX7" fmla="*/ 603283 w 1260483"/>
                <a:gd name="connsiteY7" fmla="*/ 603 h 71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483" h="710485">
                  <a:moveTo>
                    <a:pt x="603283" y="603"/>
                  </a:moveTo>
                  <a:cubicBezTo>
                    <a:pt x="849071" y="-10196"/>
                    <a:pt x="1088933" y="124791"/>
                    <a:pt x="1200343" y="360707"/>
                  </a:cubicBezTo>
                  <a:cubicBezTo>
                    <a:pt x="1237479" y="439900"/>
                    <a:pt x="1257019" y="522692"/>
                    <a:pt x="1260483" y="604653"/>
                  </a:cubicBezTo>
                  <a:lnTo>
                    <a:pt x="1254687" y="710485"/>
                  </a:lnTo>
                  <a:lnTo>
                    <a:pt x="8021" y="710485"/>
                  </a:lnTo>
                  <a:lnTo>
                    <a:pt x="575" y="658198"/>
                  </a:lnTo>
                  <a:cubicBezTo>
                    <a:pt x="-9921" y="412626"/>
                    <a:pt x="123937" y="172971"/>
                    <a:pt x="360059" y="61659"/>
                  </a:cubicBezTo>
                  <a:cubicBezTo>
                    <a:pt x="438767" y="24001"/>
                    <a:pt x="521353" y="4203"/>
                    <a:pt x="603283" y="603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45" name="任意多边形: 形状 1544"/>
            <p:cNvSpPr/>
            <p:nvPr userDrawn="1"/>
          </p:nvSpPr>
          <p:spPr bwMode="auto">
            <a:xfrm>
              <a:off x="10820442" y="6248865"/>
              <a:ext cx="1159012" cy="602859"/>
            </a:xfrm>
            <a:custGeom>
              <a:avLst/>
              <a:gdLst>
                <a:gd name="connsiteX0" fmla="*/ 605141 w 1261877"/>
                <a:gd name="connsiteY0" fmla="*/ 506 h 677001"/>
                <a:gd name="connsiteX1" fmla="*/ 1200727 w 1261877"/>
                <a:gd name="connsiteY1" fmla="*/ 361703 h 677001"/>
                <a:gd name="connsiteX2" fmla="*/ 1261877 w 1261877"/>
                <a:gd name="connsiteY2" fmla="*/ 604820 h 677001"/>
                <a:gd name="connsiteX3" fmla="*/ 1257993 w 1261877"/>
                <a:gd name="connsiteY3" fmla="*/ 677001 h 677001"/>
                <a:gd name="connsiteX4" fmla="*/ 3301 w 1261877"/>
                <a:gd name="connsiteY4" fmla="*/ 677001 h 677001"/>
                <a:gd name="connsiteX5" fmla="*/ 507 w 1261877"/>
                <a:gd name="connsiteY5" fmla="*/ 657107 h 677001"/>
                <a:gd name="connsiteX6" fmla="*/ 362101 w 1261877"/>
                <a:gd name="connsiteY6" fmla="*/ 60308 h 677001"/>
                <a:gd name="connsiteX7" fmla="*/ 605141 w 1261877"/>
                <a:gd name="connsiteY7" fmla="*/ 506 h 67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877" h="677001">
                  <a:moveTo>
                    <a:pt x="605141" y="506"/>
                  </a:moveTo>
                  <a:cubicBezTo>
                    <a:pt x="850469" y="-9362"/>
                    <a:pt x="1089243" y="125684"/>
                    <a:pt x="1200727" y="361703"/>
                  </a:cubicBezTo>
                  <a:cubicBezTo>
                    <a:pt x="1238443" y="440376"/>
                    <a:pt x="1258271" y="522927"/>
                    <a:pt x="1261877" y="604820"/>
                  </a:cubicBezTo>
                  <a:lnTo>
                    <a:pt x="1257993" y="677001"/>
                  </a:lnTo>
                  <a:lnTo>
                    <a:pt x="3301" y="677001"/>
                  </a:lnTo>
                  <a:lnTo>
                    <a:pt x="507" y="657107"/>
                  </a:lnTo>
                  <a:cubicBezTo>
                    <a:pt x="-9373" y="411427"/>
                    <a:pt x="125823" y="171669"/>
                    <a:pt x="362101" y="60308"/>
                  </a:cubicBezTo>
                  <a:cubicBezTo>
                    <a:pt x="440861" y="23187"/>
                    <a:pt x="523365" y="3796"/>
                    <a:pt x="605141" y="50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763" name="Freeform 3275"/>
            <p:cNvSpPr/>
            <p:nvPr userDrawn="1"/>
          </p:nvSpPr>
          <p:spPr bwMode="auto">
            <a:xfrm>
              <a:off x="8318934" y="3230553"/>
              <a:ext cx="527829" cy="545326"/>
            </a:xfrm>
            <a:custGeom>
              <a:avLst/>
              <a:gdLst>
                <a:gd name="T0" fmla="*/ 3 w 259"/>
                <a:gd name="T1" fmla="*/ 0 h 268"/>
                <a:gd name="T2" fmla="*/ 0 w 259"/>
                <a:gd name="T3" fmla="*/ 71 h 268"/>
                <a:gd name="T4" fmla="*/ 179 w 259"/>
                <a:gd name="T5" fmla="*/ 268 h 268"/>
                <a:gd name="T6" fmla="*/ 259 w 259"/>
                <a:gd name="T7" fmla="*/ 224 h 268"/>
                <a:gd name="T8" fmla="*/ 3 w 259"/>
                <a:gd name="T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8">
                  <a:moveTo>
                    <a:pt x="3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55" y="122"/>
                    <a:pt x="129" y="197"/>
                    <a:pt x="179" y="268"/>
                  </a:cubicBezTo>
                  <a:cubicBezTo>
                    <a:pt x="217" y="237"/>
                    <a:pt x="259" y="224"/>
                    <a:pt x="259" y="224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4" name="Freeform 3276"/>
            <p:cNvSpPr/>
            <p:nvPr userDrawn="1"/>
          </p:nvSpPr>
          <p:spPr bwMode="auto">
            <a:xfrm>
              <a:off x="8318934" y="3376362"/>
              <a:ext cx="438885" cy="931721"/>
            </a:xfrm>
            <a:custGeom>
              <a:avLst/>
              <a:gdLst>
                <a:gd name="T0" fmla="*/ 0 w 216"/>
                <a:gd name="T1" fmla="*/ 0 h 458"/>
                <a:gd name="T2" fmla="*/ 27 w 216"/>
                <a:gd name="T3" fmla="*/ 421 h 458"/>
                <a:gd name="T4" fmla="*/ 160 w 216"/>
                <a:gd name="T5" fmla="*/ 458 h 458"/>
                <a:gd name="T6" fmla="*/ 216 w 216"/>
                <a:gd name="T7" fmla="*/ 172 h 458"/>
                <a:gd name="T8" fmla="*/ 0 w 216"/>
                <a:gd name="T9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458">
                  <a:moveTo>
                    <a:pt x="0" y="0"/>
                  </a:moveTo>
                  <a:cubicBezTo>
                    <a:pt x="0" y="0"/>
                    <a:pt x="61" y="224"/>
                    <a:pt x="27" y="421"/>
                  </a:cubicBezTo>
                  <a:cubicBezTo>
                    <a:pt x="60" y="441"/>
                    <a:pt x="103" y="457"/>
                    <a:pt x="160" y="458"/>
                  </a:cubicBezTo>
                  <a:cubicBezTo>
                    <a:pt x="79" y="323"/>
                    <a:pt x="163" y="217"/>
                    <a:pt x="216" y="172"/>
                  </a:cubicBezTo>
                  <a:cubicBezTo>
                    <a:pt x="156" y="112"/>
                    <a:pt x="75" y="4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5" name="Freeform 3277"/>
            <p:cNvSpPr/>
            <p:nvPr userDrawn="1"/>
          </p:nvSpPr>
          <p:spPr bwMode="auto">
            <a:xfrm>
              <a:off x="8180416" y="3376362"/>
              <a:ext cx="262456" cy="855900"/>
            </a:xfrm>
            <a:custGeom>
              <a:avLst/>
              <a:gdLst>
                <a:gd name="T0" fmla="*/ 68 w 129"/>
                <a:gd name="T1" fmla="*/ 0 h 421"/>
                <a:gd name="T2" fmla="*/ 59 w 129"/>
                <a:gd name="T3" fmla="*/ 240 h 421"/>
                <a:gd name="T4" fmla="*/ 0 w 129"/>
                <a:gd name="T5" fmla="*/ 299 h 421"/>
                <a:gd name="T6" fmla="*/ 95 w 129"/>
                <a:gd name="T7" fmla="*/ 421 h 421"/>
                <a:gd name="T8" fmla="*/ 68 w 129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421">
                  <a:moveTo>
                    <a:pt x="68" y="0"/>
                  </a:moveTo>
                  <a:cubicBezTo>
                    <a:pt x="59" y="240"/>
                    <a:pt x="59" y="240"/>
                    <a:pt x="59" y="240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299"/>
                    <a:pt x="19" y="374"/>
                    <a:pt x="95" y="421"/>
                  </a:cubicBezTo>
                  <a:cubicBezTo>
                    <a:pt x="129" y="224"/>
                    <a:pt x="68" y="0"/>
                    <a:pt x="68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6" name="Freeform 3278"/>
            <p:cNvSpPr/>
            <p:nvPr userDrawn="1"/>
          </p:nvSpPr>
          <p:spPr bwMode="auto">
            <a:xfrm>
              <a:off x="8577017" y="2972470"/>
              <a:ext cx="548242" cy="527829"/>
            </a:xfrm>
            <a:custGeom>
              <a:avLst/>
              <a:gdLst>
                <a:gd name="T0" fmla="*/ 0 w 269"/>
                <a:gd name="T1" fmla="*/ 3 h 259"/>
                <a:gd name="T2" fmla="*/ 71 w 269"/>
                <a:gd name="T3" fmla="*/ 0 h 259"/>
                <a:gd name="T4" fmla="*/ 269 w 269"/>
                <a:gd name="T5" fmla="*/ 179 h 259"/>
                <a:gd name="T6" fmla="*/ 224 w 269"/>
                <a:gd name="T7" fmla="*/ 259 h 259"/>
                <a:gd name="T8" fmla="*/ 0 w 269"/>
                <a:gd name="T9" fmla="*/ 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59">
                  <a:moveTo>
                    <a:pt x="0" y="3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23" y="55"/>
                    <a:pt x="197" y="129"/>
                    <a:pt x="269" y="179"/>
                  </a:cubicBezTo>
                  <a:cubicBezTo>
                    <a:pt x="237" y="217"/>
                    <a:pt x="224" y="259"/>
                    <a:pt x="224" y="259"/>
                  </a:cubicBez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7" name="Freeform 3279"/>
            <p:cNvSpPr/>
            <p:nvPr userDrawn="1"/>
          </p:nvSpPr>
          <p:spPr bwMode="auto">
            <a:xfrm>
              <a:off x="8721368" y="2972470"/>
              <a:ext cx="933178" cy="440344"/>
            </a:xfrm>
            <a:custGeom>
              <a:avLst/>
              <a:gdLst>
                <a:gd name="T0" fmla="*/ 0 w 458"/>
                <a:gd name="T1" fmla="*/ 0 h 216"/>
                <a:gd name="T2" fmla="*/ 421 w 458"/>
                <a:gd name="T3" fmla="*/ 26 h 216"/>
                <a:gd name="T4" fmla="*/ 458 w 458"/>
                <a:gd name="T5" fmla="*/ 160 h 216"/>
                <a:gd name="T6" fmla="*/ 172 w 458"/>
                <a:gd name="T7" fmla="*/ 216 h 216"/>
                <a:gd name="T8" fmla="*/ 0 w 458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216">
                  <a:moveTo>
                    <a:pt x="0" y="0"/>
                  </a:moveTo>
                  <a:cubicBezTo>
                    <a:pt x="0" y="0"/>
                    <a:pt x="224" y="61"/>
                    <a:pt x="421" y="26"/>
                  </a:cubicBezTo>
                  <a:cubicBezTo>
                    <a:pt x="441" y="59"/>
                    <a:pt x="457" y="103"/>
                    <a:pt x="458" y="160"/>
                  </a:cubicBezTo>
                  <a:cubicBezTo>
                    <a:pt x="323" y="78"/>
                    <a:pt x="217" y="162"/>
                    <a:pt x="172" y="216"/>
                  </a:cubicBezTo>
                  <a:cubicBezTo>
                    <a:pt x="112" y="156"/>
                    <a:pt x="47" y="75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8" name="Freeform 3280"/>
            <p:cNvSpPr/>
            <p:nvPr userDrawn="1"/>
          </p:nvSpPr>
          <p:spPr bwMode="auto">
            <a:xfrm>
              <a:off x="8721368" y="2844398"/>
              <a:ext cx="858815" cy="263915"/>
            </a:xfrm>
            <a:custGeom>
              <a:avLst/>
              <a:gdLst>
                <a:gd name="T0" fmla="*/ 0 w 421"/>
                <a:gd name="T1" fmla="*/ 69 h 130"/>
                <a:gd name="T2" fmla="*/ 240 w 421"/>
                <a:gd name="T3" fmla="*/ 60 h 130"/>
                <a:gd name="T4" fmla="*/ 299 w 421"/>
                <a:gd name="T5" fmla="*/ 0 h 130"/>
                <a:gd name="T6" fmla="*/ 421 w 421"/>
                <a:gd name="T7" fmla="*/ 95 h 130"/>
                <a:gd name="T8" fmla="*/ 0 w 421"/>
                <a:gd name="T9" fmla="*/ 6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" h="130">
                  <a:moveTo>
                    <a:pt x="0" y="69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0"/>
                    <a:pt x="374" y="20"/>
                    <a:pt x="421" y="95"/>
                  </a:cubicBezTo>
                  <a:cubicBezTo>
                    <a:pt x="224" y="130"/>
                    <a:pt x="0" y="69"/>
                    <a:pt x="0" y="69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69" name="Freeform 3281"/>
            <p:cNvSpPr/>
            <p:nvPr userDrawn="1"/>
          </p:nvSpPr>
          <p:spPr bwMode="auto">
            <a:xfrm>
              <a:off x="9765361" y="3229094"/>
              <a:ext cx="629895" cy="624063"/>
            </a:xfrm>
            <a:custGeom>
              <a:avLst/>
              <a:gdLst>
                <a:gd name="T0" fmla="*/ 11 w 309"/>
                <a:gd name="T1" fmla="*/ 10 h 307"/>
                <a:gd name="T2" fmla="*/ 45 w 309"/>
                <a:gd name="T3" fmla="*/ 145 h 307"/>
                <a:gd name="T4" fmla="*/ 300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8 w 309"/>
                <a:gd name="T11" fmla="*/ 45 h 307"/>
                <a:gd name="T12" fmla="*/ 11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1" y="10"/>
                  </a:moveTo>
                  <a:cubicBezTo>
                    <a:pt x="0" y="31"/>
                    <a:pt x="4" y="94"/>
                    <a:pt x="45" y="145"/>
                  </a:cubicBezTo>
                  <a:cubicBezTo>
                    <a:pt x="86" y="200"/>
                    <a:pt x="166" y="242"/>
                    <a:pt x="300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8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8" y="45"/>
                  </a:cubicBezTo>
                  <a:cubicBezTo>
                    <a:pt x="96" y="4"/>
                    <a:pt x="32" y="0"/>
                    <a:pt x="11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0" name="Freeform 3282"/>
            <p:cNvSpPr/>
            <p:nvPr userDrawn="1"/>
          </p:nvSpPr>
          <p:spPr bwMode="auto">
            <a:xfrm>
              <a:off x="9771193" y="3233469"/>
              <a:ext cx="478254" cy="473880"/>
            </a:xfrm>
            <a:custGeom>
              <a:avLst/>
              <a:gdLst>
                <a:gd name="T0" fmla="*/ 8 w 235"/>
                <a:gd name="T1" fmla="*/ 8 h 233"/>
                <a:gd name="T2" fmla="*/ 34 w 235"/>
                <a:gd name="T3" fmla="*/ 111 h 233"/>
                <a:gd name="T4" fmla="*/ 227 w 235"/>
                <a:gd name="T5" fmla="*/ 230 h 233"/>
                <a:gd name="T6" fmla="*/ 235 w 235"/>
                <a:gd name="T7" fmla="*/ 233 h 233"/>
                <a:gd name="T8" fmla="*/ 231 w 235"/>
                <a:gd name="T9" fmla="*/ 226 h 233"/>
                <a:gd name="T10" fmla="*/ 112 w 235"/>
                <a:gd name="T11" fmla="*/ 35 h 233"/>
                <a:gd name="T12" fmla="*/ 8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8" y="8"/>
                  </a:moveTo>
                  <a:cubicBezTo>
                    <a:pt x="0" y="24"/>
                    <a:pt x="3" y="72"/>
                    <a:pt x="34" y="111"/>
                  </a:cubicBezTo>
                  <a:cubicBezTo>
                    <a:pt x="65" y="152"/>
                    <a:pt x="125" y="184"/>
                    <a:pt x="227" y="230"/>
                  </a:cubicBezTo>
                  <a:cubicBezTo>
                    <a:pt x="230" y="231"/>
                    <a:pt x="232" y="232"/>
                    <a:pt x="235" y="233"/>
                  </a:cubicBezTo>
                  <a:cubicBezTo>
                    <a:pt x="233" y="231"/>
                    <a:pt x="232" y="229"/>
                    <a:pt x="231" y="226"/>
                  </a:cubicBezTo>
                  <a:cubicBezTo>
                    <a:pt x="186" y="126"/>
                    <a:pt x="154" y="66"/>
                    <a:pt x="112" y="35"/>
                  </a:cubicBezTo>
                  <a:cubicBezTo>
                    <a:pt x="73" y="3"/>
                    <a:pt x="24" y="0"/>
                    <a:pt x="8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1" name="Freeform 3283"/>
            <p:cNvSpPr/>
            <p:nvPr userDrawn="1"/>
          </p:nvSpPr>
          <p:spPr bwMode="auto">
            <a:xfrm>
              <a:off x="9775568" y="3237843"/>
              <a:ext cx="335361" cy="332445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2 h 164"/>
                <a:gd name="T6" fmla="*/ 165 w 165"/>
                <a:gd name="T7" fmla="*/ 164 h 164"/>
                <a:gd name="T8" fmla="*/ 163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30"/>
                    <a:pt x="160" y="162"/>
                  </a:cubicBezTo>
                  <a:cubicBezTo>
                    <a:pt x="162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3" y="159"/>
                  </a:cubicBezTo>
                  <a:cubicBezTo>
                    <a:pt x="131" y="88"/>
                    <a:pt x="108" y="47"/>
                    <a:pt x="79" y="25"/>
                  </a:cubicBezTo>
                  <a:cubicBezTo>
                    <a:pt x="52" y="3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2" name="Freeform 3284"/>
            <p:cNvSpPr/>
            <p:nvPr userDrawn="1"/>
          </p:nvSpPr>
          <p:spPr bwMode="auto">
            <a:xfrm>
              <a:off x="9139840" y="2600657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2 w 402"/>
                <a:gd name="T3" fmla="*/ 33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3 h 403"/>
                <a:gd name="T14" fmla="*/ 280 w 402"/>
                <a:gd name="T15" fmla="*/ 142 h 403"/>
                <a:gd name="T16" fmla="*/ 84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2" y="33"/>
                    <a:pt x="32" y="33"/>
                    <a:pt x="32" y="33"/>
                  </a:cubicBezTo>
                  <a:cubicBezTo>
                    <a:pt x="13" y="51"/>
                    <a:pt x="3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2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6" y="269"/>
                    <a:pt x="402" y="263"/>
                  </a:cubicBezTo>
                  <a:cubicBezTo>
                    <a:pt x="351" y="205"/>
                    <a:pt x="319" y="171"/>
                    <a:pt x="280" y="142"/>
                  </a:cubicBezTo>
                  <a:cubicBezTo>
                    <a:pt x="224" y="98"/>
                    <a:pt x="150" y="34"/>
                    <a:pt x="84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3" name="Freeform 3285"/>
            <p:cNvSpPr/>
            <p:nvPr userDrawn="1"/>
          </p:nvSpPr>
          <p:spPr bwMode="auto">
            <a:xfrm>
              <a:off x="9043606" y="2504423"/>
              <a:ext cx="266830" cy="268289"/>
            </a:xfrm>
            <a:custGeom>
              <a:avLst/>
              <a:gdLst>
                <a:gd name="T0" fmla="*/ 0 w 131"/>
                <a:gd name="T1" fmla="*/ 0 h 132"/>
                <a:gd name="T2" fmla="*/ 47 w 131"/>
                <a:gd name="T3" fmla="*/ 132 h 132"/>
                <a:gd name="T4" fmla="*/ 79 w 131"/>
                <a:gd name="T5" fmla="*/ 80 h 132"/>
                <a:gd name="T6" fmla="*/ 79 w 131"/>
                <a:gd name="T7" fmla="*/ 79 h 132"/>
                <a:gd name="T8" fmla="*/ 131 w 131"/>
                <a:gd name="T9" fmla="*/ 47 h 132"/>
                <a:gd name="T10" fmla="*/ 0 w 131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0" y="0"/>
                  </a:moveTo>
                  <a:cubicBezTo>
                    <a:pt x="2" y="11"/>
                    <a:pt x="4" y="50"/>
                    <a:pt x="47" y="132"/>
                  </a:cubicBezTo>
                  <a:cubicBezTo>
                    <a:pt x="50" y="119"/>
                    <a:pt x="60" y="98"/>
                    <a:pt x="79" y="80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97" y="60"/>
                    <a:pt x="118" y="50"/>
                    <a:pt x="131" y="47"/>
                  </a:cubicBezTo>
                  <a:cubicBezTo>
                    <a:pt x="49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4" name="Freeform 3286"/>
            <p:cNvSpPr/>
            <p:nvPr userDrawn="1"/>
          </p:nvSpPr>
          <p:spPr bwMode="auto">
            <a:xfrm>
              <a:off x="9673502" y="3135776"/>
              <a:ext cx="323696" cy="320780"/>
            </a:xfrm>
            <a:custGeom>
              <a:avLst/>
              <a:gdLst>
                <a:gd name="T0" fmla="*/ 0 w 159"/>
                <a:gd name="T1" fmla="*/ 140 h 158"/>
                <a:gd name="T2" fmla="*/ 4 w 159"/>
                <a:gd name="T3" fmla="*/ 144 h 158"/>
                <a:gd name="T4" fmla="*/ 21 w 159"/>
                <a:gd name="T5" fmla="*/ 158 h 158"/>
                <a:gd name="T6" fmla="*/ 75 w 159"/>
                <a:gd name="T7" fmla="*/ 75 h 158"/>
                <a:gd name="T8" fmla="*/ 75 w 159"/>
                <a:gd name="T9" fmla="*/ 75 h 158"/>
                <a:gd name="T10" fmla="*/ 159 w 159"/>
                <a:gd name="T11" fmla="*/ 20 h 158"/>
                <a:gd name="T12" fmla="*/ 144 w 159"/>
                <a:gd name="T13" fmla="*/ 4 h 158"/>
                <a:gd name="T14" fmla="*/ 140 w 159"/>
                <a:gd name="T15" fmla="*/ 0 h 158"/>
                <a:gd name="T16" fmla="*/ 57 w 159"/>
                <a:gd name="T17" fmla="*/ 57 h 158"/>
                <a:gd name="T18" fmla="*/ 0 w 159"/>
                <a:gd name="T19" fmla="*/ 14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58">
                  <a:moveTo>
                    <a:pt x="0" y="140"/>
                  </a:moveTo>
                  <a:cubicBezTo>
                    <a:pt x="2" y="141"/>
                    <a:pt x="3" y="142"/>
                    <a:pt x="4" y="144"/>
                  </a:cubicBezTo>
                  <a:cubicBezTo>
                    <a:pt x="10" y="149"/>
                    <a:pt x="15" y="154"/>
                    <a:pt x="21" y="158"/>
                  </a:cubicBezTo>
                  <a:cubicBezTo>
                    <a:pt x="27" y="138"/>
                    <a:pt x="45" y="10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6"/>
                    <a:pt x="159" y="20"/>
                  </a:cubicBezTo>
                  <a:cubicBezTo>
                    <a:pt x="154" y="14"/>
                    <a:pt x="149" y="9"/>
                    <a:pt x="144" y="4"/>
                  </a:cubicBezTo>
                  <a:cubicBezTo>
                    <a:pt x="143" y="2"/>
                    <a:pt x="141" y="1"/>
                    <a:pt x="140" y="0"/>
                  </a:cubicBezTo>
                  <a:cubicBezTo>
                    <a:pt x="124" y="6"/>
                    <a:pt x="89" y="24"/>
                    <a:pt x="57" y="57"/>
                  </a:cubicBezTo>
                  <a:cubicBezTo>
                    <a:pt x="25" y="89"/>
                    <a:pt x="7" y="123"/>
                    <a:pt x="0" y="140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5" name="Freeform 3287"/>
            <p:cNvSpPr/>
            <p:nvPr userDrawn="1"/>
          </p:nvSpPr>
          <p:spPr bwMode="auto">
            <a:xfrm>
              <a:off x="9673502" y="3217429"/>
              <a:ext cx="158931" cy="211424"/>
            </a:xfrm>
            <a:custGeom>
              <a:avLst/>
              <a:gdLst>
                <a:gd name="T0" fmla="*/ 76 w 78"/>
                <a:gd name="T1" fmla="*/ 0 h 104"/>
                <a:gd name="T2" fmla="*/ 57 w 78"/>
                <a:gd name="T3" fmla="*/ 17 h 104"/>
                <a:gd name="T4" fmla="*/ 3 w 78"/>
                <a:gd name="T5" fmla="*/ 94 h 104"/>
                <a:gd name="T6" fmla="*/ 0 w 78"/>
                <a:gd name="T7" fmla="*/ 100 h 104"/>
                <a:gd name="T8" fmla="*/ 4 w 78"/>
                <a:gd name="T9" fmla="*/ 104 h 104"/>
                <a:gd name="T10" fmla="*/ 5 w 78"/>
                <a:gd name="T11" fmla="*/ 104 h 104"/>
                <a:gd name="T12" fmla="*/ 61 w 78"/>
                <a:gd name="T13" fmla="*/ 21 h 104"/>
                <a:gd name="T14" fmla="*/ 78 w 78"/>
                <a:gd name="T15" fmla="*/ 5 h 104"/>
                <a:gd name="T16" fmla="*/ 76 w 78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04">
                  <a:moveTo>
                    <a:pt x="76" y="0"/>
                  </a:moveTo>
                  <a:cubicBezTo>
                    <a:pt x="70" y="5"/>
                    <a:pt x="63" y="11"/>
                    <a:pt x="57" y="17"/>
                  </a:cubicBezTo>
                  <a:cubicBezTo>
                    <a:pt x="28" y="46"/>
                    <a:pt x="11" y="76"/>
                    <a:pt x="3" y="94"/>
                  </a:cubicBezTo>
                  <a:cubicBezTo>
                    <a:pt x="2" y="96"/>
                    <a:pt x="1" y="98"/>
                    <a:pt x="0" y="100"/>
                  </a:cubicBezTo>
                  <a:cubicBezTo>
                    <a:pt x="2" y="101"/>
                    <a:pt x="3" y="102"/>
                    <a:pt x="4" y="104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11" y="86"/>
                    <a:pt x="29" y="52"/>
                    <a:pt x="61" y="21"/>
                  </a:cubicBezTo>
                  <a:cubicBezTo>
                    <a:pt x="67" y="15"/>
                    <a:pt x="72" y="10"/>
                    <a:pt x="78" y="5"/>
                  </a:cubicBezTo>
                  <a:cubicBezTo>
                    <a:pt x="77" y="3"/>
                    <a:pt x="77" y="2"/>
                    <a:pt x="76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6" name="Freeform 3288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953592" cy="713007"/>
            </a:xfrm>
            <a:custGeom>
              <a:avLst/>
              <a:gdLst>
                <a:gd name="T0" fmla="*/ 445 w 468"/>
                <a:gd name="T1" fmla="*/ 311 h 350"/>
                <a:gd name="T2" fmla="*/ 385 w 468"/>
                <a:gd name="T3" fmla="*/ 350 h 350"/>
                <a:gd name="T4" fmla="*/ 385 w 468"/>
                <a:gd name="T5" fmla="*/ 350 h 350"/>
                <a:gd name="T6" fmla="*/ 445 w 468"/>
                <a:gd name="T7" fmla="*/ 311 h 350"/>
                <a:gd name="T8" fmla="*/ 327 w 468"/>
                <a:gd name="T9" fmla="*/ 189 h 350"/>
                <a:gd name="T10" fmla="*/ 327 w 468"/>
                <a:gd name="T11" fmla="*/ 189 h 350"/>
                <a:gd name="T12" fmla="*/ 449 w 468"/>
                <a:gd name="T13" fmla="*/ 310 h 350"/>
                <a:gd name="T14" fmla="*/ 449 w 468"/>
                <a:gd name="T15" fmla="*/ 310 h 350"/>
                <a:gd name="T16" fmla="*/ 453 w 468"/>
                <a:gd name="T17" fmla="*/ 314 h 350"/>
                <a:gd name="T18" fmla="*/ 453 w 468"/>
                <a:gd name="T19" fmla="*/ 314 h 350"/>
                <a:gd name="T20" fmla="*/ 468 w 468"/>
                <a:gd name="T21" fmla="*/ 330 h 350"/>
                <a:gd name="T22" fmla="*/ 468 w 468"/>
                <a:gd name="T23" fmla="*/ 330 h 350"/>
                <a:gd name="T24" fmla="*/ 453 w 468"/>
                <a:gd name="T25" fmla="*/ 314 h 350"/>
                <a:gd name="T26" fmla="*/ 449 w 468"/>
                <a:gd name="T27" fmla="*/ 310 h 350"/>
                <a:gd name="T28" fmla="*/ 327 w 468"/>
                <a:gd name="T29" fmla="*/ 189 h 350"/>
                <a:gd name="T30" fmla="*/ 327 w 468"/>
                <a:gd name="T31" fmla="*/ 189 h 350"/>
                <a:gd name="T32" fmla="*/ 141 w 468"/>
                <a:gd name="T33" fmla="*/ 52 h 350"/>
                <a:gd name="T34" fmla="*/ 141 w 468"/>
                <a:gd name="T35" fmla="*/ 52 h 350"/>
                <a:gd name="T36" fmla="*/ 141 w 468"/>
                <a:gd name="T37" fmla="*/ 52 h 350"/>
                <a:gd name="T38" fmla="*/ 131 w 468"/>
                <a:gd name="T39" fmla="*/ 47 h 350"/>
                <a:gd name="T40" fmla="*/ 131 w 468"/>
                <a:gd name="T41" fmla="*/ 47 h 350"/>
                <a:gd name="T42" fmla="*/ 140 w 468"/>
                <a:gd name="T43" fmla="*/ 52 h 350"/>
                <a:gd name="T44" fmla="*/ 131 w 468"/>
                <a:gd name="T45" fmla="*/ 47 h 350"/>
                <a:gd name="T46" fmla="*/ 0 w 468"/>
                <a:gd name="T47" fmla="*/ 0 h 350"/>
                <a:gd name="T48" fmla="*/ 0 w 468"/>
                <a:gd name="T49" fmla="*/ 1 h 350"/>
                <a:gd name="T50" fmla="*/ 0 w 468"/>
                <a:gd name="T51" fmla="*/ 1 h 350"/>
                <a:gd name="T52" fmla="*/ 0 w 468"/>
                <a:gd name="T53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8" h="350">
                  <a:moveTo>
                    <a:pt x="445" y="311"/>
                  </a:moveTo>
                  <a:cubicBezTo>
                    <a:pt x="431" y="318"/>
                    <a:pt x="408" y="330"/>
                    <a:pt x="385" y="350"/>
                  </a:cubicBezTo>
                  <a:cubicBezTo>
                    <a:pt x="385" y="350"/>
                    <a:pt x="385" y="350"/>
                    <a:pt x="385" y="350"/>
                  </a:cubicBezTo>
                  <a:cubicBezTo>
                    <a:pt x="408" y="330"/>
                    <a:pt x="431" y="318"/>
                    <a:pt x="445" y="311"/>
                  </a:cubicBezTo>
                  <a:moveTo>
                    <a:pt x="327" y="189"/>
                  </a:moveTo>
                  <a:cubicBezTo>
                    <a:pt x="327" y="189"/>
                    <a:pt x="327" y="189"/>
                    <a:pt x="327" y="189"/>
                  </a:cubicBezTo>
                  <a:cubicBezTo>
                    <a:pt x="366" y="218"/>
                    <a:pt x="398" y="252"/>
                    <a:pt x="449" y="310"/>
                  </a:cubicBezTo>
                  <a:cubicBezTo>
                    <a:pt x="449" y="310"/>
                    <a:pt x="449" y="310"/>
                    <a:pt x="449" y="310"/>
                  </a:cubicBezTo>
                  <a:cubicBezTo>
                    <a:pt x="450" y="311"/>
                    <a:pt x="452" y="312"/>
                    <a:pt x="453" y="314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58" y="319"/>
                    <a:pt x="463" y="324"/>
                    <a:pt x="468" y="330"/>
                  </a:cubicBezTo>
                  <a:cubicBezTo>
                    <a:pt x="468" y="330"/>
                    <a:pt x="468" y="330"/>
                    <a:pt x="468" y="330"/>
                  </a:cubicBezTo>
                  <a:cubicBezTo>
                    <a:pt x="463" y="324"/>
                    <a:pt x="458" y="319"/>
                    <a:pt x="453" y="314"/>
                  </a:cubicBezTo>
                  <a:cubicBezTo>
                    <a:pt x="452" y="312"/>
                    <a:pt x="450" y="311"/>
                    <a:pt x="449" y="310"/>
                  </a:cubicBezTo>
                  <a:cubicBezTo>
                    <a:pt x="398" y="252"/>
                    <a:pt x="366" y="218"/>
                    <a:pt x="327" y="189"/>
                  </a:cubicBezTo>
                  <a:cubicBezTo>
                    <a:pt x="327" y="189"/>
                    <a:pt x="327" y="189"/>
                    <a:pt x="327" y="189"/>
                  </a:cubicBezTo>
                  <a:moveTo>
                    <a:pt x="141" y="52"/>
                  </a:moveTo>
                  <a:cubicBezTo>
                    <a:pt x="141" y="52"/>
                    <a:pt x="141" y="52"/>
                    <a:pt x="141" y="52"/>
                  </a:cubicBezTo>
                  <a:cubicBezTo>
                    <a:pt x="141" y="52"/>
                    <a:pt x="141" y="52"/>
                    <a:pt x="141" y="52"/>
                  </a:cubicBezTo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4" y="49"/>
                    <a:pt x="137" y="50"/>
                    <a:pt x="140" y="52"/>
                  </a:cubicBezTo>
                  <a:cubicBezTo>
                    <a:pt x="137" y="50"/>
                    <a:pt x="134" y="49"/>
                    <a:pt x="131" y="47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7" name="Freeform 3289"/>
            <p:cNvSpPr/>
            <p:nvPr userDrawn="1"/>
          </p:nvSpPr>
          <p:spPr bwMode="auto">
            <a:xfrm>
              <a:off x="9268152" y="2600657"/>
              <a:ext cx="689677" cy="616773"/>
            </a:xfrm>
            <a:custGeom>
              <a:avLst/>
              <a:gdLst>
                <a:gd name="T0" fmla="*/ 21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5 w 339"/>
                <a:gd name="T7" fmla="*/ 303 h 303"/>
                <a:gd name="T8" fmla="*/ 335 w 339"/>
                <a:gd name="T9" fmla="*/ 264 h 303"/>
                <a:gd name="T10" fmla="*/ 339 w 339"/>
                <a:gd name="T11" fmla="*/ 263 h 303"/>
                <a:gd name="T12" fmla="*/ 217 w 339"/>
                <a:gd name="T13" fmla="*/ 142 h 303"/>
                <a:gd name="T14" fmla="*/ 217 w 339"/>
                <a:gd name="T15" fmla="*/ 142 h 303"/>
                <a:gd name="T16" fmla="*/ 31 w 339"/>
                <a:gd name="T17" fmla="*/ 5 h 303"/>
                <a:gd name="T18" fmla="*/ 31 w 339"/>
                <a:gd name="T19" fmla="*/ 5 h 303"/>
                <a:gd name="T20" fmla="*/ 30 w 339"/>
                <a:gd name="T21" fmla="*/ 5 h 303"/>
                <a:gd name="T22" fmla="*/ 21 w 339"/>
                <a:gd name="T2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9" h="303">
                  <a:moveTo>
                    <a:pt x="21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5" y="303"/>
                  </a:cubicBezTo>
                  <a:cubicBezTo>
                    <a:pt x="298" y="283"/>
                    <a:pt x="321" y="271"/>
                    <a:pt x="335" y="264"/>
                  </a:cubicBezTo>
                  <a:cubicBezTo>
                    <a:pt x="337" y="264"/>
                    <a:pt x="338" y="263"/>
                    <a:pt x="339" y="263"/>
                  </a:cubicBezTo>
                  <a:cubicBezTo>
                    <a:pt x="288" y="205"/>
                    <a:pt x="256" y="171"/>
                    <a:pt x="217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164" y="101"/>
                    <a:pt x="95" y="41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0" y="5"/>
                  </a:cubicBezTo>
                  <a:cubicBezTo>
                    <a:pt x="27" y="3"/>
                    <a:pt x="24" y="2"/>
                    <a:pt x="21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8" name="Freeform 3290"/>
            <p:cNvSpPr/>
            <p:nvPr userDrawn="1"/>
          </p:nvSpPr>
          <p:spPr bwMode="auto">
            <a:xfrm>
              <a:off x="9970952" y="3176603"/>
              <a:ext cx="26246" cy="10207"/>
            </a:xfrm>
            <a:custGeom>
              <a:avLst/>
              <a:gdLst>
                <a:gd name="T0" fmla="*/ 13 w 13"/>
                <a:gd name="T1" fmla="*/ 0 h 5"/>
                <a:gd name="T2" fmla="*/ 0 w 13"/>
                <a:gd name="T3" fmla="*/ 5 h 5"/>
                <a:gd name="T4" fmla="*/ 13 w 13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5">
                  <a:moveTo>
                    <a:pt x="13" y="0"/>
                  </a:moveTo>
                  <a:cubicBezTo>
                    <a:pt x="9" y="1"/>
                    <a:pt x="5" y="3"/>
                    <a:pt x="0" y="5"/>
                  </a:cubicBezTo>
                  <a:cubicBezTo>
                    <a:pt x="5" y="3"/>
                    <a:pt x="9" y="1"/>
                    <a:pt x="1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79" name="Freeform 3291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266830" cy="112274"/>
            </a:xfrm>
            <a:custGeom>
              <a:avLst/>
              <a:gdLst>
                <a:gd name="T0" fmla="*/ 130 w 131"/>
                <a:gd name="T1" fmla="*/ 47 h 55"/>
                <a:gd name="T2" fmla="*/ 110 w 131"/>
                <a:gd name="T3" fmla="*/ 55 h 55"/>
                <a:gd name="T4" fmla="*/ 110 w 131"/>
                <a:gd name="T5" fmla="*/ 55 h 55"/>
                <a:gd name="T6" fmla="*/ 131 w 131"/>
                <a:gd name="T7" fmla="*/ 47 h 55"/>
                <a:gd name="T8" fmla="*/ 131 w 131"/>
                <a:gd name="T9" fmla="*/ 47 h 55"/>
                <a:gd name="T10" fmla="*/ 131 w 131"/>
                <a:gd name="T11" fmla="*/ 47 h 55"/>
                <a:gd name="T12" fmla="*/ 131 w 131"/>
                <a:gd name="T13" fmla="*/ 47 h 55"/>
                <a:gd name="T14" fmla="*/ 130 w 131"/>
                <a:gd name="T15" fmla="*/ 47 h 55"/>
                <a:gd name="T16" fmla="*/ 0 w 131"/>
                <a:gd name="T17" fmla="*/ 0 h 55"/>
                <a:gd name="T18" fmla="*/ 0 w 131"/>
                <a:gd name="T19" fmla="*/ 0 h 55"/>
                <a:gd name="T20" fmla="*/ 0 w 131"/>
                <a:gd name="T21" fmla="*/ 1 h 55"/>
                <a:gd name="T22" fmla="*/ 0 w 131"/>
                <a:gd name="T23" fmla="*/ 1 h 55"/>
                <a:gd name="T24" fmla="*/ 0 w 131"/>
                <a:gd name="T25" fmla="*/ 0 h 55"/>
                <a:gd name="T26" fmla="*/ 1 w 131"/>
                <a:gd name="T27" fmla="*/ 1 h 55"/>
                <a:gd name="T28" fmla="*/ 30 w 131"/>
                <a:gd name="T29" fmla="*/ 15 h 55"/>
                <a:gd name="T30" fmla="*/ 30 w 131"/>
                <a:gd name="T31" fmla="*/ 15 h 55"/>
                <a:gd name="T32" fmla="*/ 102 w 131"/>
                <a:gd name="T33" fmla="*/ 50 h 55"/>
                <a:gd name="T34" fmla="*/ 121 w 131"/>
                <a:gd name="T35" fmla="*/ 42 h 55"/>
                <a:gd name="T36" fmla="*/ 0 w 131"/>
                <a:gd name="T3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55">
                  <a:moveTo>
                    <a:pt x="130" y="47"/>
                  </a:moveTo>
                  <a:cubicBezTo>
                    <a:pt x="125" y="48"/>
                    <a:pt x="118" y="51"/>
                    <a:pt x="110" y="55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8" y="51"/>
                    <a:pt x="125" y="48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0" y="47"/>
                    <a:pt x="130" y="47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9" y="5"/>
                    <a:pt x="19" y="10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6"/>
                    <a:pt x="102" y="50"/>
                  </a:cubicBezTo>
                  <a:cubicBezTo>
                    <a:pt x="109" y="46"/>
                    <a:pt x="116" y="43"/>
                    <a:pt x="121" y="42"/>
                  </a:cubicBezTo>
                  <a:cubicBezTo>
                    <a:pt x="46" y="4"/>
                    <a:pt x="10" y="2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0" name="Freeform 3292"/>
            <p:cNvSpPr/>
            <p:nvPr userDrawn="1"/>
          </p:nvSpPr>
          <p:spPr bwMode="auto">
            <a:xfrm>
              <a:off x="9832433" y="3143067"/>
              <a:ext cx="164764" cy="122480"/>
            </a:xfrm>
            <a:custGeom>
              <a:avLst/>
              <a:gdLst>
                <a:gd name="T0" fmla="*/ 66 w 81"/>
                <a:gd name="T1" fmla="*/ 0 h 60"/>
                <a:gd name="T2" fmla="*/ 66 w 81"/>
                <a:gd name="T3" fmla="*/ 0 h 60"/>
                <a:gd name="T4" fmla="*/ 0 w 81"/>
                <a:gd name="T5" fmla="*/ 41 h 60"/>
                <a:gd name="T6" fmla="*/ 6 w 81"/>
                <a:gd name="T7" fmla="*/ 56 h 60"/>
                <a:gd name="T8" fmla="*/ 6 w 81"/>
                <a:gd name="T9" fmla="*/ 56 h 60"/>
                <a:gd name="T10" fmla="*/ 8 w 81"/>
                <a:gd name="T11" fmla="*/ 60 h 60"/>
                <a:gd name="T12" fmla="*/ 68 w 81"/>
                <a:gd name="T13" fmla="*/ 21 h 60"/>
                <a:gd name="T14" fmla="*/ 81 w 81"/>
                <a:gd name="T15" fmla="*/ 16 h 60"/>
                <a:gd name="T16" fmla="*/ 81 w 81"/>
                <a:gd name="T17" fmla="*/ 16 h 60"/>
                <a:gd name="T18" fmla="*/ 66 w 81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60"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2" y="6"/>
                    <a:pt x="26" y="19"/>
                    <a:pt x="0" y="41"/>
                  </a:cubicBezTo>
                  <a:cubicBezTo>
                    <a:pt x="2" y="46"/>
                    <a:pt x="4" y="51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7"/>
                    <a:pt x="7" y="59"/>
                    <a:pt x="8" y="60"/>
                  </a:cubicBezTo>
                  <a:cubicBezTo>
                    <a:pt x="29" y="41"/>
                    <a:pt x="51" y="28"/>
                    <a:pt x="68" y="21"/>
                  </a:cubicBezTo>
                  <a:cubicBezTo>
                    <a:pt x="73" y="19"/>
                    <a:pt x="77" y="17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76" y="10"/>
                    <a:pt x="71" y="5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1" name="Freeform 3293"/>
            <p:cNvSpPr/>
            <p:nvPr userDrawn="1"/>
          </p:nvSpPr>
          <p:spPr bwMode="auto">
            <a:xfrm>
              <a:off x="9828059" y="3135776"/>
              <a:ext cx="138518" cy="91860"/>
            </a:xfrm>
            <a:custGeom>
              <a:avLst/>
              <a:gdLst>
                <a:gd name="T0" fmla="*/ 64 w 68"/>
                <a:gd name="T1" fmla="*/ 0 h 45"/>
                <a:gd name="T2" fmla="*/ 64 w 68"/>
                <a:gd name="T3" fmla="*/ 0 h 45"/>
                <a:gd name="T4" fmla="*/ 60 w 68"/>
                <a:gd name="T5" fmla="*/ 1 h 45"/>
                <a:gd name="T6" fmla="*/ 0 w 68"/>
                <a:gd name="T7" fmla="*/ 40 h 45"/>
                <a:gd name="T8" fmla="*/ 2 w 68"/>
                <a:gd name="T9" fmla="*/ 45 h 45"/>
                <a:gd name="T10" fmla="*/ 68 w 68"/>
                <a:gd name="T11" fmla="*/ 4 h 45"/>
                <a:gd name="T12" fmla="*/ 68 w 68"/>
                <a:gd name="T13" fmla="*/ 4 h 45"/>
                <a:gd name="T14" fmla="*/ 68 w 68"/>
                <a:gd name="T15" fmla="*/ 4 h 45"/>
                <a:gd name="T16" fmla="*/ 64 w 68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45">
                  <a:moveTo>
                    <a:pt x="64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3" y="0"/>
                    <a:pt x="62" y="1"/>
                    <a:pt x="60" y="1"/>
                  </a:cubicBezTo>
                  <a:cubicBezTo>
                    <a:pt x="46" y="8"/>
                    <a:pt x="23" y="20"/>
                    <a:pt x="0" y="40"/>
                  </a:cubicBezTo>
                  <a:cubicBezTo>
                    <a:pt x="1" y="42"/>
                    <a:pt x="1" y="43"/>
                    <a:pt x="2" y="45"/>
                  </a:cubicBezTo>
                  <a:cubicBezTo>
                    <a:pt x="28" y="23"/>
                    <a:pt x="54" y="10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7" y="2"/>
                    <a:pt x="65" y="1"/>
                    <a:pt x="64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2" name="Freeform 3294"/>
            <p:cNvSpPr/>
            <p:nvPr userDrawn="1"/>
          </p:nvSpPr>
          <p:spPr bwMode="auto">
            <a:xfrm>
              <a:off x="9290023" y="2590450"/>
              <a:ext cx="18955" cy="10207"/>
            </a:xfrm>
            <a:custGeom>
              <a:avLst/>
              <a:gdLst>
                <a:gd name="T0" fmla="*/ 0 w 9"/>
                <a:gd name="T1" fmla="*/ 0 h 5"/>
                <a:gd name="T2" fmla="*/ 0 w 9"/>
                <a:gd name="T3" fmla="*/ 0 h 5"/>
                <a:gd name="T4" fmla="*/ 9 w 9"/>
                <a:gd name="T5" fmla="*/ 5 h 5"/>
                <a:gd name="T6" fmla="*/ 9 w 9"/>
                <a:gd name="T7" fmla="*/ 4 h 5"/>
                <a:gd name="T8" fmla="*/ 0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3" name="Freeform 3295"/>
            <p:cNvSpPr/>
            <p:nvPr userDrawn="1"/>
          </p:nvSpPr>
          <p:spPr bwMode="auto">
            <a:xfrm>
              <a:off x="9176292" y="2606490"/>
              <a:ext cx="91859" cy="78737"/>
            </a:xfrm>
            <a:custGeom>
              <a:avLst/>
              <a:gdLst>
                <a:gd name="T0" fmla="*/ 37 w 45"/>
                <a:gd name="T1" fmla="*/ 0 h 39"/>
                <a:gd name="T2" fmla="*/ 8 w 45"/>
                <a:gd name="T3" fmla="*/ 23 h 39"/>
                <a:gd name="T4" fmla="*/ 8 w 45"/>
                <a:gd name="T5" fmla="*/ 23 h 39"/>
                <a:gd name="T6" fmla="*/ 0 w 45"/>
                <a:gd name="T7" fmla="*/ 31 h 39"/>
                <a:gd name="T8" fmla="*/ 4 w 45"/>
                <a:gd name="T9" fmla="*/ 39 h 39"/>
                <a:gd name="T10" fmla="*/ 13 w 45"/>
                <a:gd name="T11" fmla="*/ 29 h 39"/>
                <a:gd name="T12" fmla="*/ 14 w 45"/>
                <a:gd name="T13" fmla="*/ 29 h 39"/>
                <a:gd name="T14" fmla="*/ 45 w 45"/>
                <a:gd name="T15" fmla="*/ 5 h 39"/>
                <a:gd name="T16" fmla="*/ 37 w 4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9">
                  <a:moveTo>
                    <a:pt x="37" y="0"/>
                  </a:moveTo>
                  <a:cubicBezTo>
                    <a:pt x="27" y="6"/>
                    <a:pt x="17" y="1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5" y="26"/>
                    <a:pt x="2" y="29"/>
                    <a:pt x="0" y="31"/>
                  </a:cubicBezTo>
                  <a:cubicBezTo>
                    <a:pt x="1" y="34"/>
                    <a:pt x="3" y="36"/>
                    <a:pt x="4" y="39"/>
                  </a:cubicBezTo>
                  <a:cubicBezTo>
                    <a:pt x="7" y="36"/>
                    <a:pt x="10" y="32"/>
                    <a:pt x="13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24" y="18"/>
                    <a:pt x="35" y="10"/>
                    <a:pt x="45" y="5"/>
                  </a:cubicBezTo>
                  <a:cubicBezTo>
                    <a:pt x="42" y="3"/>
                    <a:pt x="39" y="2"/>
                    <a:pt x="37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4" name="Freeform 3296"/>
            <p:cNvSpPr/>
            <p:nvPr userDrawn="1"/>
          </p:nvSpPr>
          <p:spPr bwMode="auto">
            <a:xfrm>
              <a:off x="9252113" y="2590450"/>
              <a:ext cx="56865" cy="26246"/>
            </a:xfrm>
            <a:custGeom>
              <a:avLst/>
              <a:gdLst>
                <a:gd name="T0" fmla="*/ 19 w 28"/>
                <a:gd name="T1" fmla="*/ 0 h 13"/>
                <a:gd name="T2" fmla="*/ 0 w 28"/>
                <a:gd name="T3" fmla="*/ 8 h 13"/>
                <a:gd name="T4" fmla="*/ 8 w 28"/>
                <a:gd name="T5" fmla="*/ 13 h 13"/>
                <a:gd name="T6" fmla="*/ 28 w 28"/>
                <a:gd name="T7" fmla="*/ 5 h 13"/>
                <a:gd name="T8" fmla="*/ 19 w 28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3">
                  <a:moveTo>
                    <a:pt x="19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2" y="10"/>
                    <a:pt x="5" y="11"/>
                    <a:pt x="8" y="13"/>
                  </a:cubicBezTo>
                  <a:cubicBezTo>
                    <a:pt x="16" y="9"/>
                    <a:pt x="23" y="6"/>
                    <a:pt x="28" y="5"/>
                  </a:cubicBezTo>
                  <a:cubicBezTo>
                    <a:pt x="25" y="3"/>
                    <a:pt x="22" y="1"/>
                    <a:pt x="19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5" name="Freeform 3297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6" name="Freeform 3298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7" name="Freeform 3299"/>
            <p:cNvSpPr/>
            <p:nvPr userDrawn="1"/>
          </p:nvSpPr>
          <p:spPr bwMode="auto">
            <a:xfrm>
              <a:off x="9139840" y="2688143"/>
              <a:ext cx="223087" cy="400976"/>
            </a:xfrm>
            <a:custGeom>
              <a:avLst/>
              <a:gdLst>
                <a:gd name="T0" fmla="*/ 110 w 110"/>
                <a:gd name="T1" fmla="*/ 197 h 197"/>
                <a:gd name="T2" fmla="*/ 22 w 110"/>
                <a:gd name="T3" fmla="*/ 0 h 197"/>
                <a:gd name="T4" fmla="*/ 0 w 110"/>
                <a:gd name="T5" fmla="*/ 42 h 197"/>
                <a:gd name="T6" fmla="*/ 110 w 110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97">
                  <a:moveTo>
                    <a:pt x="110" y="197"/>
                  </a:moveTo>
                  <a:cubicBezTo>
                    <a:pt x="57" y="130"/>
                    <a:pt x="55" y="53"/>
                    <a:pt x="22" y="0"/>
                  </a:cubicBezTo>
                  <a:cubicBezTo>
                    <a:pt x="9" y="15"/>
                    <a:pt x="2" y="31"/>
                    <a:pt x="0" y="42"/>
                  </a:cubicBezTo>
                  <a:cubicBezTo>
                    <a:pt x="27" y="93"/>
                    <a:pt x="71" y="149"/>
                    <a:pt x="110" y="1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8" name="Freeform 3300"/>
            <p:cNvSpPr/>
            <p:nvPr userDrawn="1"/>
          </p:nvSpPr>
          <p:spPr bwMode="auto">
            <a:xfrm>
              <a:off x="9043606" y="2507339"/>
              <a:ext cx="132686" cy="246418"/>
            </a:xfrm>
            <a:custGeom>
              <a:avLst/>
              <a:gdLst>
                <a:gd name="T0" fmla="*/ 0 w 65"/>
                <a:gd name="T1" fmla="*/ 0 h 121"/>
                <a:gd name="T2" fmla="*/ 42 w 65"/>
                <a:gd name="T3" fmla="*/ 121 h 121"/>
                <a:gd name="T4" fmla="*/ 65 w 65"/>
                <a:gd name="T5" fmla="*/ 80 h 121"/>
                <a:gd name="T6" fmla="*/ 5 w 65"/>
                <a:gd name="T7" fmla="*/ 4 h 121"/>
                <a:gd name="T8" fmla="*/ 1 w 65"/>
                <a:gd name="T9" fmla="*/ 0 h 121"/>
                <a:gd name="T10" fmla="*/ 0 w 65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21">
                  <a:moveTo>
                    <a:pt x="0" y="0"/>
                  </a:moveTo>
                  <a:cubicBezTo>
                    <a:pt x="2" y="11"/>
                    <a:pt x="5" y="47"/>
                    <a:pt x="42" y="121"/>
                  </a:cubicBezTo>
                  <a:cubicBezTo>
                    <a:pt x="45" y="110"/>
                    <a:pt x="53" y="95"/>
                    <a:pt x="65" y="80"/>
                  </a:cubicBezTo>
                  <a:cubicBezTo>
                    <a:pt x="49" y="53"/>
                    <a:pt x="29" y="28"/>
                    <a:pt x="5" y="4"/>
                  </a:cubicBezTo>
                  <a:cubicBezTo>
                    <a:pt x="4" y="3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89" name="Freeform 3301"/>
            <p:cNvSpPr/>
            <p:nvPr userDrawn="1"/>
          </p:nvSpPr>
          <p:spPr bwMode="auto">
            <a:xfrm>
              <a:off x="9043606" y="2504423"/>
              <a:ext cx="1458" cy="291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0" name="Freeform 3302"/>
            <p:cNvSpPr/>
            <p:nvPr userDrawn="1"/>
          </p:nvSpPr>
          <p:spPr bwMode="auto">
            <a:xfrm>
              <a:off x="9139840" y="2753756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2" y="3"/>
                    <a:pt x="1" y="6"/>
                    <a:pt x="0" y="8"/>
                  </a:cubicBezTo>
                  <a:cubicBezTo>
                    <a:pt x="1" y="6"/>
                    <a:pt x="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1" name="Freeform 3303"/>
            <p:cNvSpPr/>
            <p:nvPr userDrawn="1"/>
          </p:nvSpPr>
          <p:spPr bwMode="auto">
            <a:xfrm>
              <a:off x="9139840" y="2685226"/>
              <a:ext cx="43743" cy="86028"/>
            </a:xfrm>
            <a:custGeom>
              <a:avLst/>
              <a:gdLst>
                <a:gd name="T0" fmla="*/ 22 w 22"/>
                <a:gd name="T1" fmla="*/ 0 h 42"/>
                <a:gd name="T2" fmla="*/ 0 w 22"/>
                <a:gd name="T3" fmla="*/ 42 h 42"/>
                <a:gd name="T4" fmla="*/ 0 w 22"/>
                <a:gd name="T5" fmla="*/ 42 h 42"/>
                <a:gd name="T6" fmla="*/ 0 w 22"/>
                <a:gd name="T7" fmla="*/ 41 h 42"/>
                <a:gd name="T8" fmla="*/ 3 w 22"/>
                <a:gd name="T9" fmla="*/ 33 h 42"/>
                <a:gd name="T10" fmla="*/ 22 w 22"/>
                <a:gd name="T11" fmla="*/ 1 h 42"/>
                <a:gd name="T12" fmla="*/ 22 w 22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22" y="0"/>
                  </a:moveTo>
                  <a:cubicBezTo>
                    <a:pt x="9" y="15"/>
                    <a:pt x="2" y="31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1" y="39"/>
                    <a:pt x="2" y="36"/>
                    <a:pt x="3" y="33"/>
                  </a:cubicBezTo>
                  <a:cubicBezTo>
                    <a:pt x="7" y="23"/>
                    <a:pt x="13" y="12"/>
                    <a:pt x="22" y="1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2" name="Freeform 3304"/>
            <p:cNvSpPr/>
            <p:nvPr userDrawn="1"/>
          </p:nvSpPr>
          <p:spPr bwMode="auto">
            <a:xfrm>
              <a:off x="9129633" y="2669187"/>
              <a:ext cx="53949" cy="102066"/>
            </a:xfrm>
            <a:custGeom>
              <a:avLst/>
              <a:gdLst>
                <a:gd name="T0" fmla="*/ 23 w 27"/>
                <a:gd name="T1" fmla="*/ 0 h 50"/>
                <a:gd name="T2" fmla="*/ 0 w 27"/>
                <a:gd name="T3" fmla="*/ 41 h 50"/>
                <a:gd name="T4" fmla="*/ 5 w 27"/>
                <a:gd name="T5" fmla="*/ 50 h 50"/>
                <a:gd name="T6" fmla="*/ 27 w 27"/>
                <a:gd name="T7" fmla="*/ 8 h 50"/>
                <a:gd name="T8" fmla="*/ 23 w 2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0">
                  <a:moveTo>
                    <a:pt x="23" y="0"/>
                  </a:moveTo>
                  <a:cubicBezTo>
                    <a:pt x="11" y="15"/>
                    <a:pt x="3" y="30"/>
                    <a:pt x="0" y="41"/>
                  </a:cubicBezTo>
                  <a:cubicBezTo>
                    <a:pt x="1" y="44"/>
                    <a:pt x="3" y="47"/>
                    <a:pt x="5" y="50"/>
                  </a:cubicBezTo>
                  <a:cubicBezTo>
                    <a:pt x="7" y="39"/>
                    <a:pt x="14" y="23"/>
                    <a:pt x="27" y="8"/>
                  </a:cubicBezTo>
                  <a:cubicBezTo>
                    <a:pt x="26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3" name="Freeform 3305"/>
            <p:cNvSpPr/>
            <p:nvPr userDrawn="1"/>
          </p:nvSpPr>
          <p:spPr bwMode="auto">
            <a:xfrm>
              <a:off x="8575559" y="4418898"/>
              <a:ext cx="628437" cy="625522"/>
            </a:xfrm>
            <a:custGeom>
              <a:avLst/>
              <a:gdLst>
                <a:gd name="T0" fmla="*/ 10 w 309"/>
                <a:gd name="T1" fmla="*/ 10 h 307"/>
                <a:gd name="T2" fmla="*/ 45 w 309"/>
                <a:gd name="T3" fmla="*/ 145 h 307"/>
                <a:gd name="T4" fmla="*/ 299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7 w 309"/>
                <a:gd name="T11" fmla="*/ 45 h 307"/>
                <a:gd name="T12" fmla="*/ 10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0" y="10"/>
                  </a:moveTo>
                  <a:cubicBezTo>
                    <a:pt x="0" y="31"/>
                    <a:pt x="3" y="94"/>
                    <a:pt x="45" y="145"/>
                  </a:cubicBezTo>
                  <a:cubicBezTo>
                    <a:pt x="86" y="200"/>
                    <a:pt x="165" y="242"/>
                    <a:pt x="299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7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7" y="45"/>
                  </a:cubicBezTo>
                  <a:cubicBezTo>
                    <a:pt x="96" y="4"/>
                    <a:pt x="32" y="0"/>
                    <a:pt x="10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4" name="Freeform 3306"/>
            <p:cNvSpPr/>
            <p:nvPr userDrawn="1"/>
          </p:nvSpPr>
          <p:spPr bwMode="auto">
            <a:xfrm>
              <a:off x="8578475" y="4423272"/>
              <a:ext cx="479712" cy="473880"/>
            </a:xfrm>
            <a:custGeom>
              <a:avLst/>
              <a:gdLst>
                <a:gd name="T0" fmla="*/ 9 w 235"/>
                <a:gd name="T1" fmla="*/ 8 h 233"/>
                <a:gd name="T2" fmla="*/ 35 w 235"/>
                <a:gd name="T3" fmla="*/ 111 h 233"/>
                <a:gd name="T4" fmla="*/ 228 w 235"/>
                <a:gd name="T5" fmla="*/ 230 h 233"/>
                <a:gd name="T6" fmla="*/ 235 w 235"/>
                <a:gd name="T7" fmla="*/ 233 h 233"/>
                <a:gd name="T8" fmla="*/ 232 w 235"/>
                <a:gd name="T9" fmla="*/ 226 h 233"/>
                <a:gd name="T10" fmla="*/ 113 w 235"/>
                <a:gd name="T11" fmla="*/ 35 h 233"/>
                <a:gd name="T12" fmla="*/ 9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9" y="8"/>
                  </a:moveTo>
                  <a:cubicBezTo>
                    <a:pt x="0" y="23"/>
                    <a:pt x="3" y="72"/>
                    <a:pt x="35" y="111"/>
                  </a:cubicBezTo>
                  <a:cubicBezTo>
                    <a:pt x="66" y="152"/>
                    <a:pt x="126" y="184"/>
                    <a:pt x="228" y="230"/>
                  </a:cubicBezTo>
                  <a:cubicBezTo>
                    <a:pt x="230" y="231"/>
                    <a:pt x="233" y="232"/>
                    <a:pt x="235" y="233"/>
                  </a:cubicBezTo>
                  <a:cubicBezTo>
                    <a:pt x="234" y="231"/>
                    <a:pt x="233" y="229"/>
                    <a:pt x="232" y="226"/>
                  </a:cubicBezTo>
                  <a:cubicBezTo>
                    <a:pt x="187" y="125"/>
                    <a:pt x="155" y="66"/>
                    <a:pt x="113" y="35"/>
                  </a:cubicBezTo>
                  <a:cubicBezTo>
                    <a:pt x="74" y="3"/>
                    <a:pt x="25" y="0"/>
                    <a:pt x="9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5" name="Freeform 3307"/>
            <p:cNvSpPr/>
            <p:nvPr userDrawn="1"/>
          </p:nvSpPr>
          <p:spPr bwMode="auto">
            <a:xfrm>
              <a:off x="8585766" y="4427646"/>
              <a:ext cx="335361" cy="333903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1 h 164"/>
                <a:gd name="T6" fmla="*/ 165 w 165"/>
                <a:gd name="T7" fmla="*/ 164 h 164"/>
                <a:gd name="T8" fmla="*/ 162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29"/>
                    <a:pt x="160" y="161"/>
                  </a:cubicBezTo>
                  <a:cubicBezTo>
                    <a:pt x="161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2" y="159"/>
                  </a:cubicBezTo>
                  <a:cubicBezTo>
                    <a:pt x="130" y="88"/>
                    <a:pt x="108" y="46"/>
                    <a:pt x="79" y="25"/>
                  </a:cubicBezTo>
                  <a:cubicBezTo>
                    <a:pt x="51" y="2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6" name="Freeform 3308"/>
            <p:cNvSpPr/>
            <p:nvPr userDrawn="1"/>
          </p:nvSpPr>
          <p:spPr bwMode="auto">
            <a:xfrm>
              <a:off x="7950038" y="3790460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1 w 402"/>
                <a:gd name="T3" fmla="*/ 32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2 h 403"/>
                <a:gd name="T14" fmla="*/ 279 w 402"/>
                <a:gd name="T15" fmla="*/ 141 h 403"/>
                <a:gd name="T16" fmla="*/ 83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13" y="51"/>
                    <a:pt x="2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1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5" y="269"/>
                    <a:pt x="402" y="262"/>
                  </a:cubicBezTo>
                  <a:cubicBezTo>
                    <a:pt x="351" y="205"/>
                    <a:pt x="319" y="171"/>
                    <a:pt x="279" y="141"/>
                  </a:cubicBezTo>
                  <a:cubicBezTo>
                    <a:pt x="223" y="98"/>
                    <a:pt x="150" y="34"/>
                    <a:pt x="83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7" name="Freeform 3309"/>
            <p:cNvSpPr/>
            <p:nvPr userDrawn="1"/>
          </p:nvSpPr>
          <p:spPr bwMode="auto">
            <a:xfrm>
              <a:off x="7852345" y="3695684"/>
              <a:ext cx="266830" cy="265373"/>
            </a:xfrm>
            <a:custGeom>
              <a:avLst/>
              <a:gdLst>
                <a:gd name="T0" fmla="*/ 0 w 131"/>
                <a:gd name="T1" fmla="*/ 0 h 131"/>
                <a:gd name="T2" fmla="*/ 48 w 131"/>
                <a:gd name="T3" fmla="*/ 131 h 131"/>
                <a:gd name="T4" fmla="*/ 79 w 131"/>
                <a:gd name="T5" fmla="*/ 79 h 131"/>
                <a:gd name="T6" fmla="*/ 80 w 131"/>
                <a:gd name="T7" fmla="*/ 79 h 131"/>
                <a:gd name="T8" fmla="*/ 131 w 131"/>
                <a:gd name="T9" fmla="*/ 47 h 131"/>
                <a:gd name="T10" fmla="*/ 0 w 13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0" y="0"/>
                  </a:moveTo>
                  <a:cubicBezTo>
                    <a:pt x="2" y="11"/>
                    <a:pt x="5" y="50"/>
                    <a:pt x="48" y="131"/>
                  </a:cubicBezTo>
                  <a:cubicBezTo>
                    <a:pt x="50" y="119"/>
                    <a:pt x="61" y="98"/>
                    <a:pt x="79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98" y="60"/>
                    <a:pt x="119" y="49"/>
                    <a:pt x="131" y="47"/>
                  </a:cubicBezTo>
                  <a:cubicBezTo>
                    <a:pt x="50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8" name="Freeform 3310"/>
            <p:cNvSpPr/>
            <p:nvPr userDrawn="1"/>
          </p:nvSpPr>
          <p:spPr bwMode="auto">
            <a:xfrm>
              <a:off x="8483699" y="4324121"/>
              <a:ext cx="322238" cy="323696"/>
            </a:xfrm>
            <a:custGeom>
              <a:avLst/>
              <a:gdLst>
                <a:gd name="T0" fmla="*/ 0 w 158"/>
                <a:gd name="T1" fmla="*/ 141 h 159"/>
                <a:gd name="T2" fmla="*/ 4 w 158"/>
                <a:gd name="T3" fmla="*/ 145 h 159"/>
                <a:gd name="T4" fmla="*/ 20 w 158"/>
                <a:gd name="T5" fmla="*/ 159 h 159"/>
                <a:gd name="T6" fmla="*/ 74 w 158"/>
                <a:gd name="T7" fmla="*/ 76 h 159"/>
                <a:gd name="T8" fmla="*/ 75 w 158"/>
                <a:gd name="T9" fmla="*/ 75 h 159"/>
                <a:gd name="T10" fmla="*/ 158 w 158"/>
                <a:gd name="T11" fmla="*/ 21 h 159"/>
                <a:gd name="T12" fmla="*/ 144 w 158"/>
                <a:gd name="T13" fmla="*/ 4 h 159"/>
                <a:gd name="T14" fmla="*/ 140 w 158"/>
                <a:gd name="T15" fmla="*/ 0 h 159"/>
                <a:gd name="T16" fmla="*/ 57 w 158"/>
                <a:gd name="T17" fmla="*/ 58 h 159"/>
                <a:gd name="T18" fmla="*/ 0 w 158"/>
                <a:gd name="T19" fmla="*/ 14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0" y="141"/>
                  </a:moveTo>
                  <a:cubicBezTo>
                    <a:pt x="1" y="142"/>
                    <a:pt x="3" y="143"/>
                    <a:pt x="4" y="145"/>
                  </a:cubicBezTo>
                  <a:cubicBezTo>
                    <a:pt x="9" y="149"/>
                    <a:pt x="15" y="154"/>
                    <a:pt x="20" y="159"/>
                  </a:cubicBezTo>
                  <a:cubicBezTo>
                    <a:pt x="27" y="139"/>
                    <a:pt x="45" y="10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7"/>
                    <a:pt x="158" y="21"/>
                  </a:cubicBezTo>
                  <a:cubicBezTo>
                    <a:pt x="153" y="15"/>
                    <a:pt x="148" y="10"/>
                    <a:pt x="144" y="4"/>
                  </a:cubicBezTo>
                  <a:cubicBezTo>
                    <a:pt x="142" y="3"/>
                    <a:pt x="141" y="2"/>
                    <a:pt x="140" y="0"/>
                  </a:cubicBezTo>
                  <a:cubicBezTo>
                    <a:pt x="123" y="7"/>
                    <a:pt x="89" y="25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99" name="Freeform 3311"/>
            <p:cNvSpPr/>
            <p:nvPr userDrawn="1"/>
          </p:nvSpPr>
          <p:spPr bwMode="auto">
            <a:xfrm>
              <a:off x="8490989" y="46186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0" name="Freeform 3312"/>
            <p:cNvSpPr>
              <a:spLocks noEditPoints="1"/>
            </p:cNvSpPr>
            <p:nvPr userDrawn="1"/>
          </p:nvSpPr>
          <p:spPr bwMode="auto">
            <a:xfrm>
              <a:off x="8483699" y="4324121"/>
              <a:ext cx="291618" cy="294535"/>
            </a:xfrm>
            <a:custGeom>
              <a:avLst/>
              <a:gdLst>
                <a:gd name="T0" fmla="*/ 75 w 143"/>
                <a:gd name="T1" fmla="*/ 41 h 145"/>
                <a:gd name="T2" fmla="*/ 57 w 143"/>
                <a:gd name="T3" fmla="*/ 58 h 145"/>
                <a:gd name="T4" fmla="*/ 0 w 143"/>
                <a:gd name="T5" fmla="*/ 141 h 145"/>
                <a:gd name="T6" fmla="*/ 4 w 143"/>
                <a:gd name="T7" fmla="*/ 145 h 145"/>
                <a:gd name="T8" fmla="*/ 4 w 143"/>
                <a:gd name="T9" fmla="*/ 145 h 145"/>
                <a:gd name="T10" fmla="*/ 4 w 143"/>
                <a:gd name="T11" fmla="*/ 145 h 145"/>
                <a:gd name="T12" fmla="*/ 61 w 143"/>
                <a:gd name="T13" fmla="*/ 62 h 145"/>
                <a:gd name="T14" fmla="*/ 78 w 143"/>
                <a:gd name="T15" fmla="*/ 46 h 145"/>
                <a:gd name="T16" fmla="*/ 75 w 143"/>
                <a:gd name="T17" fmla="*/ 41 h 145"/>
                <a:gd name="T18" fmla="*/ 140 w 143"/>
                <a:gd name="T19" fmla="*/ 0 h 145"/>
                <a:gd name="T20" fmla="*/ 140 w 143"/>
                <a:gd name="T21" fmla="*/ 0 h 145"/>
                <a:gd name="T22" fmla="*/ 143 w 143"/>
                <a:gd name="T23" fmla="*/ 4 h 145"/>
                <a:gd name="T24" fmla="*/ 140 w 143"/>
                <a:gd name="T2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45">
                  <a:moveTo>
                    <a:pt x="75" y="41"/>
                  </a:moveTo>
                  <a:cubicBezTo>
                    <a:pt x="69" y="46"/>
                    <a:pt x="63" y="51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  <a:cubicBezTo>
                    <a:pt x="1" y="142"/>
                    <a:pt x="3" y="143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11" y="127"/>
                    <a:pt x="29" y="93"/>
                    <a:pt x="61" y="62"/>
                  </a:cubicBezTo>
                  <a:cubicBezTo>
                    <a:pt x="66" y="56"/>
                    <a:pt x="72" y="51"/>
                    <a:pt x="78" y="46"/>
                  </a:cubicBezTo>
                  <a:cubicBezTo>
                    <a:pt x="77" y="44"/>
                    <a:pt x="76" y="42"/>
                    <a:pt x="75" y="41"/>
                  </a:cubicBezTo>
                  <a:moveTo>
                    <a:pt x="14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1" y="2"/>
                    <a:pt x="142" y="3"/>
                    <a:pt x="143" y="4"/>
                  </a:cubicBezTo>
                  <a:cubicBezTo>
                    <a:pt x="142" y="3"/>
                    <a:pt x="141" y="2"/>
                    <a:pt x="14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1" name="Freeform 3313"/>
            <p:cNvSpPr/>
            <p:nvPr userDrawn="1"/>
          </p:nvSpPr>
          <p:spPr bwMode="auto">
            <a:xfrm>
              <a:off x="7852345" y="3695684"/>
              <a:ext cx="0" cy="1459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2" name="Freeform 3314"/>
            <p:cNvSpPr/>
            <p:nvPr userDrawn="1"/>
          </p:nvSpPr>
          <p:spPr bwMode="auto">
            <a:xfrm>
              <a:off x="7852345" y="3695684"/>
              <a:ext cx="247876" cy="100609"/>
            </a:xfrm>
            <a:custGeom>
              <a:avLst/>
              <a:gdLst>
                <a:gd name="T0" fmla="*/ 0 w 122"/>
                <a:gd name="T1" fmla="*/ 0 h 50"/>
                <a:gd name="T2" fmla="*/ 0 w 122"/>
                <a:gd name="T3" fmla="*/ 0 h 50"/>
                <a:gd name="T4" fmla="*/ 0 w 122"/>
                <a:gd name="T5" fmla="*/ 1 h 50"/>
                <a:gd name="T6" fmla="*/ 0 w 122"/>
                <a:gd name="T7" fmla="*/ 1 h 50"/>
                <a:gd name="T8" fmla="*/ 0 w 122"/>
                <a:gd name="T9" fmla="*/ 0 h 50"/>
                <a:gd name="T10" fmla="*/ 2 w 122"/>
                <a:gd name="T11" fmla="*/ 1 h 50"/>
                <a:gd name="T12" fmla="*/ 30 w 122"/>
                <a:gd name="T13" fmla="*/ 15 h 50"/>
                <a:gd name="T14" fmla="*/ 30 w 122"/>
                <a:gd name="T15" fmla="*/ 15 h 50"/>
                <a:gd name="T16" fmla="*/ 102 w 122"/>
                <a:gd name="T17" fmla="*/ 50 h 50"/>
                <a:gd name="T18" fmla="*/ 122 w 122"/>
                <a:gd name="T19" fmla="*/ 42 h 50"/>
                <a:gd name="T20" fmla="*/ 0 w 122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10" y="5"/>
                    <a:pt x="20" y="9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5"/>
                    <a:pt x="102" y="50"/>
                  </a:cubicBezTo>
                  <a:cubicBezTo>
                    <a:pt x="109" y="46"/>
                    <a:pt x="116" y="43"/>
                    <a:pt x="122" y="42"/>
                  </a:cubicBezTo>
                  <a:cubicBezTo>
                    <a:pt x="47" y="4"/>
                    <a:pt x="11" y="1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3" name="Freeform 3315"/>
            <p:cNvSpPr/>
            <p:nvPr userDrawn="1"/>
          </p:nvSpPr>
          <p:spPr bwMode="auto">
            <a:xfrm>
              <a:off x="8119176" y="3790460"/>
              <a:ext cx="156015" cy="97693"/>
            </a:xfrm>
            <a:custGeom>
              <a:avLst/>
              <a:gdLst>
                <a:gd name="T0" fmla="*/ 0 w 77"/>
                <a:gd name="T1" fmla="*/ 0 h 48"/>
                <a:gd name="T2" fmla="*/ 0 w 77"/>
                <a:gd name="T3" fmla="*/ 0 h 48"/>
                <a:gd name="T4" fmla="*/ 77 w 77"/>
                <a:gd name="T5" fmla="*/ 48 h 48"/>
                <a:gd name="T6" fmla="*/ 77 w 77"/>
                <a:gd name="T7" fmla="*/ 48 h 48"/>
                <a:gd name="T8" fmla="*/ 0 w 77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4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3"/>
                    <a:pt x="51" y="30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51" y="30"/>
                    <a:pt x="25" y="1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4" name="Freeform 3316"/>
            <p:cNvSpPr/>
            <p:nvPr userDrawn="1"/>
          </p:nvSpPr>
          <p:spPr bwMode="auto">
            <a:xfrm>
              <a:off x="8393298" y="3980012"/>
              <a:ext cx="107899" cy="86028"/>
            </a:xfrm>
            <a:custGeom>
              <a:avLst/>
              <a:gdLst>
                <a:gd name="T0" fmla="*/ 0 w 53"/>
                <a:gd name="T1" fmla="*/ 0 h 42"/>
                <a:gd name="T2" fmla="*/ 0 w 53"/>
                <a:gd name="T3" fmla="*/ 0 h 42"/>
                <a:gd name="T4" fmla="*/ 53 w 53"/>
                <a:gd name="T5" fmla="*/ 42 h 42"/>
                <a:gd name="T6" fmla="*/ 0 w 5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4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15"/>
                    <a:pt x="36" y="29"/>
                    <a:pt x="53" y="42"/>
                  </a:cubicBezTo>
                  <a:cubicBezTo>
                    <a:pt x="36" y="29"/>
                    <a:pt x="19" y="15"/>
                    <a:pt x="0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5" name="Freeform 3317"/>
            <p:cNvSpPr/>
            <p:nvPr userDrawn="1"/>
          </p:nvSpPr>
          <p:spPr bwMode="auto">
            <a:xfrm>
              <a:off x="8275192" y="3888152"/>
              <a:ext cx="118105" cy="91860"/>
            </a:xfrm>
            <a:custGeom>
              <a:avLst/>
              <a:gdLst>
                <a:gd name="T0" fmla="*/ 0 w 58"/>
                <a:gd name="T1" fmla="*/ 0 h 45"/>
                <a:gd name="T2" fmla="*/ 0 w 58"/>
                <a:gd name="T3" fmla="*/ 0 h 45"/>
                <a:gd name="T4" fmla="*/ 58 w 58"/>
                <a:gd name="T5" fmla="*/ 45 h 45"/>
                <a:gd name="T6" fmla="*/ 58 w 58"/>
                <a:gd name="T7" fmla="*/ 45 h 45"/>
                <a:gd name="T8" fmla="*/ 0 w 58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15"/>
                    <a:pt x="39" y="30"/>
                    <a:pt x="58" y="4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39" y="30"/>
                    <a:pt x="20" y="15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6" name="Freeform 3318"/>
            <p:cNvSpPr/>
            <p:nvPr userDrawn="1"/>
          </p:nvSpPr>
          <p:spPr bwMode="auto">
            <a:xfrm>
              <a:off x="8078350" y="3790460"/>
              <a:ext cx="689677" cy="616773"/>
            </a:xfrm>
            <a:custGeom>
              <a:avLst/>
              <a:gdLst>
                <a:gd name="T0" fmla="*/ 20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4 w 339"/>
                <a:gd name="T7" fmla="*/ 303 h 303"/>
                <a:gd name="T8" fmla="*/ 339 w 339"/>
                <a:gd name="T9" fmla="*/ 262 h 303"/>
                <a:gd name="T10" fmla="*/ 337 w 339"/>
                <a:gd name="T11" fmla="*/ 260 h 303"/>
                <a:gd name="T12" fmla="*/ 216 w 339"/>
                <a:gd name="T13" fmla="*/ 141 h 303"/>
                <a:gd name="T14" fmla="*/ 216 w 339"/>
                <a:gd name="T15" fmla="*/ 141 h 303"/>
                <a:gd name="T16" fmla="*/ 213 w 339"/>
                <a:gd name="T17" fmla="*/ 139 h 303"/>
                <a:gd name="T18" fmla="*/ 210 w 339"/>
                <a:gd name="T19" fmla="*/ 137 h 303"/>
                <a:gd name="T20" fmla="*/ 209 w 339"/>
                <a:gd name="T21" fmla="*/ 136 h 303"/>
                <a:gd name="T22" fmla="*/ 208 w 339"/>
                <a:gd name="T23" fmla="*/ 135 h 303"/>
                <a:gd name="T24" fmla="*/ 155 w 339"/>
                <a:gd name="T25" fmla="*/ 93 h 303"/>
                <a:gd name="T26" fmla="*/ 155 w 339"/>
                <a:gd name="T27" fmla="*/ 93 h 303"/>
                <a:gd name="T28" fmla="*/ 97 w 339"/>
                <a:gd name="T29" fmla="*/ 48 h 303"/>
                <a:gd name="T30" fmla="*/ 20 w 339"/>
                <a:gd name="T31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9" h="303">
                  <a:moveTo>
                    <a:pt x="20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4" y="303"/>
                  </a:cubicBezTo>
                  <a:cubicBezTo>
                    <a:pt x="300" y="281"/>
                    <a:pt x="325" y="268"/>
                    <a:pt x="339" y="262"/>
                  </a:cubicBezTo>
                  <a:cubicBezTo>
                    <a:pt x="338" y="262"/>
                    <a:pt x="338" y="261"/>
                    <a:pt x="337" y="260"/>
                  </a:cubicBezTo>
                  <a:cubicBezTo>
                    <a:pt x="287" y="204"/>
                    <a:pt x="255" y="171"/>
                    <a:pt x="216" y="141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5" y="141"/>
                    <a:pt x="214" y="140"/>
                    <a:pt x="213" y="139"/>
                  </a:cubicBezTo>
                  <a:cubicBezTo>
                    <a:pt x="212" y="138"/>
                    <a:pt x="211" y="137"/>
                    <a:pt x="210" y="137"/>
                  </a:cubicBezTo>
                  <a:cubicBezTo>
                    <a:pt x="210" y="136"/>
                    <a:pt x="209" y="136"/>
                    <a:pt x="209" y="136"/>
                  </a:cubicBezTo>
                  <a:cubicBezTo>
                    <a:pt x="209" y="136"/>
                    <a:pt x="208" y="135"/>
                    <a:pt x="208" y="135"/>
                  </a:cubicBezTo>
                  <a:cubicBezTo>
                    <a:pt x="191" y="122"/>
                    <a:pt x="174" y="108"/>
                    <a:pt x="155" y="93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36" y="78"/>
                    <a:pt x="117" y="63"/>
                    <a:pt x="97" y="48"/>
                  </a:cubicBezTo>
                  <a:cubicBezTo>
                    <a:pt x="71" y="30"/>
                    <a:pt x="45" y="13"/>
                    <a:pt x="2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7" name="Freeform 3319"/>
            <p:cNvSpPr/>
            <p:nvPr userDrawn="1"/>
          </p:nvSpPr>
          <p:spPr bwMode="auto">
            <a:xfrm>
              <a:off x="8075434" y="3789001"/>
              <a:ext cx="43743" cy="17497"/>
            </a:xfrm>
            <a:custGeom>
              <a:avLst/>
              <a:gdLst>
                <a:gd name="T0" fmla="*/ 21 w 21"/>
                <a:gd name="T1" fmla="*/ 0 h 9"/>
                <a:gd name="T2" fmla="*/ 0 w 21"/>
                <a:gd name="T3" fmla="*/ 9 h 9"/>
                <a:gd name="T4" fmla="*/ 1 w 21"/>
                <a:gd name="T5" fmla="*/ 9 h 9"/>
                <a:gd name="T6" fmla="*/ 21 w 21"/>
                <a:gd name="T7" fmla="*/ 1 h 9"/>
                <a:gd name="T8" fmla="*/ 21 w 21"/>
                <a:gd name="T9" fmla="*/ 1 h 9"/>
                <a:gd name="T10" fmla="*/ 21 w 21"/>
                <a:gd name="T11" fmla="*/ 1 h 9"/>
                <a:gd name="T12" fmla="*/ 21 w 21"/>
                <a:gd name="T13" fmla="*/ 1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15" y="2"/>
                    <a:pt x="8" y="4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9" y="5"/>
                    <a:pt x="16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0"/>
                    <a:pt x="21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8" name="Freeform 3320"/>
            <p:cNvSpPr/>
            <p:nvPr userDrawn="1"/>
          </p:nvSpPr>
          <p:spPr bwMode="auto">
            <a:xfrm>
              <a:off x="8782607" y="4366407"/>
              <a:ext cx="23329" cy="8749"/>
            </a:xfrm>
            <a:custGeom>
              <a:avLst/>
              <a:gdLst>
                <a:gd name="T0" fmla="*/ 11 w 11"/>
                <a:gd name="T1" fmla="*/ 0 h 4"/>
                <a:gd name="T2" fmla="*/ 0 w 11"/>
                <a:gd name="T3" fmla="*/ 4 h 4"/>
                <a:gd name="T4" fmla="*/ 11 w 1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cubicBezTo>
                    <a:pt x="8" y="1"/>
                    <a:pt x="4" y="2"/>
                    <a:pt x="0" y="4"/>
                  </a:cubicBezTo>
                  <a:cubicBezTo>
                    <a:pt x="4" y="2"/>
                    <a:pt x="8" y="1"/>
                    <a:pt x="1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09" name="Freeform 3321"/>
            <p:cNvSpPr/>
            <p:nvPr userDrawn="1"/>
          </p:nvSpPr>
          <p:spPr bwMode="auto">
            <a:xfrm>
              <a:off x="8642631" y="4331412"/>
              <a:ext cx="163306" cy="123938"/>
            </a:xfrm>
            <a:custGeom>
              <a:avLst/>
              <a:gdLst>
                <a:gd name="T0" fmla="*/ 66 w 80"/>
                <a:gd name="T1" fmla="*/ 0 h 61"/>
                <a:gd name="T2" fmla="*/ 66 w 80"/>
                <a:gd name="T3" fmla="*/ 1 h 61"/>
                <a:gd name="T4" fmla="*/ 0 w 80"/>
                <a:gd name="T5" fmla="*/ 42 h 61"/>
                <a:gd name="T6" fmla="*/ 6 w 80"/>
                <a:gd name="T7" fmla="*/ 57 h 61"/>
                <a:gd name="T8" fmla="*/ 7 w 80"/>
                <a:gd name="T9" fmla="*/ 61 h 61"/>
                <a:gd name="T10" fmla="*/ 69 w 80"/>
                <a:gd name="T11" fmla="*/ 21 h 61"/>
                <a:gd name="T12" fmla="*/ 80 w 80"/>
                <a:gd name="T13" fmla="*/ 17 h 61"/>
                <a:gd name="T14" fmla="*/ 80 w 80"/>
                <a:gd name="T15" fmla="*/ 17 h 61"/>
                <a:gd name="T16" fmla="*/ 66 w 8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1">
                  <a:moveTo>
                    <a:pt x="66" y="0"/>
                  </a:moveTo>
                  <a:cubicBezTo>
                    <a:pt x="66" y="1"/>
                    <a:pt x="66" y="1"/>
                    <a:pt x="66" y="1"/>
                  </a:cubicBezTo>
                  <a:cubicBezTo>
                    <a:pt x="52" y="6"/>
                    <a:pt x="26" y="20"/>
                    <a:pt x="0" y="42"/>
                  </a:cubicBezTo>
                  <a:cubicBezTo>
                    <a:pt x="2" y="47"/>
                    <a:pt x="4" y="52"/>
                    <a:pt x="6" y="57"/>
                  </a:cubicBezTo>
                  <a:cubicBezTo>
                    <a:pt x="6" y="58"/>
                    <a:pt x="7" y="60"/>
                    <a:pt x="7" y="61"/>
                  </a:cubicBezTo>
                  <a:cubicBezTo>
                    <a:pt x="29" y="41"/>
                    <a:pt x="52" y="28"/>
                    <a:pt x="69" y="21"/>
                  </a:cubicBezTo>
                  <a:cubicBezTo>
                    <a:pt x="73" y="19"/>
                    <a:pt x="77" y="18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5" y="11"/>
                    <a:pt x="70" y="6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0" name="Freeform 3322"/>
            <p:cNvSpPr/>
            <p:nvPr userDrawn="1"/>
          </p:nvSpPr>
          <p:spPr bwMode="auto">
            <a:xfrm>
              <a:off x="8636798" y="4324121"/>
              <a:ext cx="139977" cy="93318"/>
            </a:xfrm>
            <a:custGeom>
              <a:avLst/>
              <a:gdLst>
                <a:gd name="T0" fmla="*/ 65 w 69"/>
                <a:gd name="T1" fmla="*/ 0 h 46"/>
                <a:gd name="T2" fmla="*/ 65 w 69"/>
                <a:gd name="T3" fmla="*/ 0 h 46"/>
                <a:gd name="T4" fmla="*/ 0 w 69"/>
                <a:gd name="T5" fmla="*/ 41 h 46"/>
                <a:gd name="T6" fmla="*/ 3 w 69"/>
                <a:gd name="T7" fmla="*/ 46 h 46"/>
                <a:gd name="T8" fmla="*/ 69 w 69"/>
                <a:gd name="T9" fmla="*/ 5 h 46"/>
                <a:gd name="T10" fmla="*/ 69 w 69"/>
                <a:gd name="T11" fmla="*/ 4 h 46"/>
                <a:gd name="T12" fmla="*/ 69 w 69"/>
                <a:gd name="T13" fmla="*/ 4 h 46"/>
                <a:gd name="T14" fmla="*/ 68 w 69"/>
                <a:gd name="T15" fmla="*/ 4 h 46"/>
                <a:gd name="T16" fmla="*/ 65 w 69"/>
                <a:gd name="T17" fmla="*/ 0 h 46"/>
                <a:gd name="T18" fmla="*/ 65 w 69"/>
                <a:gd name="T19" fmla="*/ 0 h 46"/>
                <a:gd name="T20" fmla="*/ 65 w 69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46">
                  <a:moveTo>
                    <a:pt x="65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51" y="6"/>
                    <a:pt x="26" y="19"/>
                    <a:pt x="0" y="41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29" y="24"/>
                    <a:pt x="55" y="10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8" y="4"/>
                    <a:pt x="68" y="4"/>
                  </a:cubicBezTo>
                  <a:cubicBezTo>
                    <a:pt x="67" y="3"/>
                    <a:pt x="66" y="2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1" name="Freeform 3323"/>
            <p:cNvSpPr/>
            <p:nvPr userDrawn="1"/>
          </p:nvSpPr>
          <p:spPr bwMode="auto">
            <a:xfrm>
              <a:off x="8100221" y="3780253"/>
              <a:ext cx="18955" cy="8749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0 h 4"/>
                <a:gd name="T4" fmla="*/ 9 w 9"/>
                <a:gd name="T5" fmla="*/ 4 h 4"/>
                <a:gd name="T6" fmla="*/ 9 w 9"/>
                <a:gd name="T7" fmla="*/ 4 h 4"/>
                <a:gd name="T8" fmla="*/ 0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2" name="Freeform 3324"/>
            <p:cNvSpPr/>
            <p:nvPr userDrawn="1"/>
          </p:nvSpPr>
          <p:spPr bwMode="auto">
            <a:xfrm>
              <a:off x="7986490" y="3796292"/>
              <a:ext cx="88943" cy="80195"/>
            </a:xfrm>
            <a:custGeom>
              <a:avLst/>
              <a:gdLst>
                <a:gd name="T0" fmla="*/ 36 w 44"/>
                <a:gd name="T1" fmla="*/ 0 h 39"/>
                <a:gd name="T2" fmla="*/ 7 w 44"/>
                <a:gd name="T3" fmla="*/ 23 h 39"/>
                <a:gd name="T4" fmla="*/ 7 w 44"/>
                <a:gd name="T5" fmla="*/ 23 h 39"/>
                <a:gd name="T6" fmla="*/ 0 w 44"/>
                <a:gd name="T7" fmla="*/ 31 h 39"/>
                <a:gd name="T8" fmla="*/ 4 w 44"/>
                <a:gd name="T9" fmla="*/ 39 h 39"/>
                <a:gd name="T10" fmla="*/ 13 w 44"/>
                <a:gd name="T11" fmla="*/ 29 h 39"/>
                <a:gd name="T12" fmla="*/ 13 w 44"/>
                <a:gd name="T13" fmla="*/ 28 h 39"/>
                <a:gd name="T14" fmla="*/ 44 w 44"/>
                <a:gd name="T15" fmla="*/ 5 h 39"/>
                <a:gd name="T16" fmla="*/ 36 w 44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39">
                  <a:moveTo>
                    <a:pt x="36" y="0"/>
                  </a:moveTo>
                  <a:cubicBezTo>
                    <a:pt x="27" y="6"/>
                    <a:pt x="17" y="1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6"/>
                    <a:pt x="2" y="28"/>
                    <a:pt x="0" y="31"/>
                  </a:cubicBezTo>
                  <a:cubicBezTo>
                    <a:pt x="1" y="34"/>
                    <a:pt x="2" y="36"/>
                    <a:pt x="4" y="39"/>
                  </a:cubicBezTo>
                  <a:cubicBezTo>
                    <a:pt x="7" y="35"/>
                    <a:pt x="10" y="32"/>
                    <a:pt x="13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23" y="18"/>
                    <a:pt x="34" y="10"/>
                    <a:pt x="44" y="5"/>
                  </a:cubicBezTo>
                  <a:cubicBezTo>
                    <a:pt x="42" y="3"/>
                    <a:pt x="39" y="2"/>
                    <a:pt x="36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3" name="Freeform 3325"/>
            <p:cNvSpPr/>
            <p:nvPr userDrawn="1"/>
          </p:nvSpPr>
          <p:spPr bwMode="auto">
            <a:xfrm>
              <a:off x="7936915" y="3940643"/>
              <a:ext cx="10206" cy="20413"/>
            </a:xfrm>
            <a:custGeom>
              <a:avLst/>
              <a:gdLst>
                <a:gd name="T0" fmla="*/ 1 w 5"/>
                <a:gd name="T1" fmla="*/ 0 h 10"/>
                <a:gd name="T2" fmla="*/ 0 w 5"/>
                <a:gd name="T3" fmla="*/ 1 h 10"/>
                <a:gd name="T4" fmla="*/ 5 w 5"/>
                <a:gd name="T5" fmla="*/ 10 h 10"/>
                <a:gd name="T6" fmla="*/ 5 w 5"/>
                <a:gd name="T7" fmla="*/ 10 h 10"/>
                <a:gd name="T8" fmla="*/ 1 w 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2" y="4"/>
                    <a:pt x="3" y="7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6"/>
                    <a:pt x="2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4" name="Freeform 3326"/>
            <p:cNvSpPr/>
            <p:nvPr userDrawn="1"/>
          </p:nvSpPr>
          <p:spPr bwMode="auto">
            <a:xfrm>
              <a:off x="7939831" y="3940643"/>
              <a:ext cx="7290" cy="20413"/>
            </a:xfrm>
            <a:custGeom>
              <a:avLst/>
              <a:gdLst>
                <a:gd name="T0" fmla="*/ 0 w 4"/>
                <a:gd name="T1" fmla="*/ 0 h 10"/>
                <a:gd name="T2" fmla="*/ 0 w 4"/>
                <a:gd name="T3" fmla="*/ 0 h 10"/>
                <a:gd name="T4" fmla="*/ 4 w 4"/>
                <a:gd name="T5" fmla="*/ 10 h 10"/>
                <a:gd name="T6" fmla="*/ 4 w 4"/>
                <a:gd name="T7" fmla="*/ 9 h 10"/>
                <a:gd name="T8" fmla="*/ 0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4" y="10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5" name="Freeform 3327"/>
            <p:cNvSpPr/>
            <p:nvPr userDrawn="1"/>
          </p:nvSpPr>
          <p:spPr bwMode="auto">
            <a:xfrm>
              <a:off x="8059394" y="3780253"/>
              <a:ext cx="59781" cy="26246"/>
            </a:xfrm>
            <a:custGeom>
              <a:avLst/>
              <a:gdLst>
                <a:gd name="T0" fmla="*/ 20 w 29"/>
                <a:gd name="T1" fmla="*/ 0 h 13"/>
                <a:gd name="T2" fmla="*/ 0 w 29"/>
                <a:gd name="T3" fmla="*/ 8 h 13"/>
                <a:gd name="T4" fmla="*/ 8 w 29"/>
                <a:gd name="T5" fmla="*/ 13 h 13"/>
                <a:gd name="T6" fmla="*/ 29 w 29"/>
                <a:gd name="T7" fmla="*/ 4 h 13"/>
                <a:gd name="T8" fmla="*/ 20 w 2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20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3" y="10"/>
                    <a:pt x="6" y="11"/>
                    <a:pt x="8" y="13"/>
                  </a:cubicBezTo>
                  <a:cubicBezTo>
                    <a:pt x="16" y="8"/>
                    <a:pt x="23" y="6"/>
                    <a:pt x="29" y="4"/>
                  </a:cubicBezTo>
                  <a:cubicBezTo>
                    <a:pt x="26" y="3"/>
                    <a:pt x="23" y="1"/>
                    <a:pt x="20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6" name="Freeform 3328"/>
            <p:cNvSpPr/>
            <p:nvPr userDrawn="1"/>
          </p:nvSpPr>
          <p:spPr bwMode="auto">
            <a:xfrm>
              <a:off x="7950038" y="3876487"/>
              <a:ext cx="221630" cy="402433"/>
            </a:xfrm>
            <a:custGeom>
              <a:avLst/>
              <a:gdLst>
                <a:gd name="T0" fmla="*/ 109 w 109"/>
                <a:gd name="T1" fmla="*/ 198 h 198"/>
                <a:gd name="T2" fmla="*/ 22 w 109"/>
                <a:gd name="T3" fmla="*/ 0 h 198"/>
                <a:gd name="T4" fmla="*/ 0 w 109"/>
                <a:gd name="T5" fmla="*/ 42 h 198"/>
                <a:gd name="T6" fmla="*/ 109 w 109"/>
                <a:gd name="T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98">
                  <a:moveTo>
                    <a:pt x="109" y="198"/>
                  </a:moveTo>
                  <a:cubicBezTo>
                    <a:pt x="57" y="131"/>
                    <a:pt x="55" y="54"/>
                    <a:pt x="22" y="0"/>
                  </a:cubicBezTo>
                  <a:cubicBezTo>
                    <a:pt x="9" y="16"/>
                    <a:pt x="2" y="32"/>
                    <a:pt x="0" y="42"/>
                  </a:cubicBezTo>
                  <a:cubicBezTo>
                    <a:pt x="26" y="94"/>
                    <a:pt x="70" y="149"/>
                    <a:pt x="109" y="1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7" name="Freeform 3329"/>
            <p:cNvSpPr/>
            <p:nvPr userDrawn="1"/>
          </p:nvSpPr>
          <p:spPr bwMode="auto">
            <a:xfrm>
              <a:off x="7852345" y="3697142"/>
              <a:ext cx="134144" cy="243502"/>
            </a:xfrm>
            <a:custGeom>
              <a:avLst/>
              <a:gdLst>
                <a:gd name="T0" fmla="*/ 0 w 66"/>
                <a:gd name="T1" fmla="*/ 0 h 120"/>
                <a:gd name="T2" fmla="*/ 43 w 66"/>
                <a:gd name="T3" fmla="*/ 120 h 120"/>
                <a:gd name="T4" fmla="*/ 66 w 66"/>
                <a:gd name="T5" fmla="*/ 80 h 120"/>
                <a:gd name="T6" fmla="*/ 6 w 66"/>
                <a:gd name="T7" fmla="*/ 4 h 120"/>
                <a:gd name="T8" fmla="*/ 2 w 66"/>
                <a:gd name="T9" fmla="*/ 0 h 120"/>
                <a:gd name="T10" fmla="*/ 0 w 66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20">
                  <a:moveTo>
                    <a:pt x="0" y="0"/>
                  </a:moveTo>
                  <a:cubicBezTo>
                    <a:pt x="2" y="11"/>
                    <a:pt x="6" y="47"/>
                    <a:pt x="43" y="120"/>
                  </a:cubicBezTo>
                  <a:cubicBezTo>
                    <a:pt x="45" y="110"/>
                    <a:pt x="53" y="95"/>
                    <a:pt x="66" y="80"/>
                  </a:cubicBezTo>
                  <a:cubicBezTo>
                    <a:pt x="50" y="53"/>
                    <a:pt x="30" y="28"/>
                    <a:pt x="6" y="4"/>
                  </a:cubicBezTo>
                  <a:cubicBezTo>
                    <a:pt x="4" y="3"/>
                    <a:pt x="3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8" name="Freeform 3330"/>
            <p:cNvSpPr/>
            <p:nvPr userDrawn="1"/>
          </p:nvSpPr>
          <p:spPr bwMode="auto">
            <a:xfrm>
              <a:off x="7950038" y="3943559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1" y="3"/>
                    <a:pt x="1" y="5"/>
                    <a:pt x="0" y="8"/>
                  </a:cubicBezTo>
                  <a:cubicBezTo>
                    <a:pt x="1" y="5"/>
                    <a:pt x="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19" name="Freeform 3331"/>
            <p:cNvSpPr/>
            <p:nvPr userDrawn="1"/>
          </p:nvSpPr>
          <p:spPr bwMode="auto">
            <a:xfrm>
              <a:off x="7947122" y="3876487"/>
              <a:ext cx="46659" cy="84569"/>
            </a:xfrm>
            <a:custGeom>
              <a:avLst/>
              <a:gdLst>
                <a:gd name="T0" fmla="*/ 23 w 23"/>
                <a:gd name="T1" fmla="*/ 0 h 42"/>
                <a:gd name="T2" fmla="*/ 0 w 23"/>
                <a:gd name="T3" fmla="*/ 41 h 42"/>
                <a:gd name="T4" fmla="*/ 1 w 23"/>
                <a:gd name="T5" fmla="*/ 42 h 42"/>
                <a:gd name="T6" fmla="*/ 1 w 23"/>
                <a:gd name="T7" fmla="*/ 41 h 42"/>
                <a:gd name="T8" fmla="*/ 4 w 23"/>
                <a:gd name="T9" fmla="*/ 33 h 42"/>
                <a:gd name="T10" fmla="*/ 23 w 23"/>
                <a:gd name="T11" fmla="*/ 0 h 42"/>
                <a:gd name="T12" fmla="*/ 23 w 2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2">
                  <a:moveTo>
                    <a:pt x="23" y="0"/>
                  </a:moveTo>
                  <a:cubicBezTo>
                    <a:pt x="10" y="15"/>
                    <a:pt x="2" y="31"/>
                    <a:pt x="0" y="41"/>
                  </a:cubicBezTo>
                  <a:cubicBezTo>
                    <a:pt x="0" y="42"/>
                    <a:pt x="0" y="42"/>
                    <a:pt x="1" y="42"/>
                  </a:cubicBezTo>
                  <a:cubicBezTo>
                    <a:pt x="1" y="42"/>
                    <a:pt x="1" y="41"/>
                    <a:pt x="1" y="41"/>
                  </a:cubicBezTo>
                  <a:cubicBezTo>
                    <a:pt x="2" y="38"/>
                    <a:pt x="2" y="36"/>
                    <a:pt x="4" y="33"/>
                  </a:cubicBezTo>
                  <a:cubicBezTo>
                    <a:pt x="7" y="23"/>
                    <a:pt x="14" y="12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0" name="Freeform 3332"/>
            <p:cNvSpPr/>
            <p:nvPr userDrawn="1"/>
          </p:nvSpPr>
          <p:spPr bwMode="auto">
            <a:xfrm>
              <a:off x="7852345" y="3695684"/>
              <a:ext cx="2916" cy="1459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1" name="Freeform 3333"/>
            <p:cNvSpPr/>
            <p:nvPr userDrawn="1"/>
          </p:nvSpPr>
          <p:spPr bwMode="auto">
            <a:xfrm>
              <a:off x="7939831" y="3860448"/>
              <a:ext cx="53949" cy="99150"/>
            </a:xfrm>
            <a:custGeom>
              <a:avLst/>
              <a:gdLst>
                <a:gd name="T0" fmla="*/ 23 w 27"/>
                <a:gd name="T1" fmla="*/ 0 h 49"/>
                <a:gd name="T2" fmla="*/ 0 w 27"/>
                <a:gd name="T3" fmla="*/ 40 h 49"/>
                <a:gd name="T4" fmla="*/ 4 w 27"/>
                <a:gd name="T5" fmla="*/ 49 h 49"/>
                <a:gd name="T6" fmla="*/ 27 w 27"/>
                <a:gd name="T7" fmla="*/ 8 h 49"/>
                <a:gd name="T8" fmla="*/ 23 w 27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49">
                  <a:moveTo>
                    <a:pt x="23" y="0"/>
                  </a:moveTo>
                  <a:cubicBezTo>
                    <a:pt x="10" y="15"/>
                    <a:pt x="2" y="30"/>
                    <a:pt x="0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6" y="39"/>
                    <a:pt x="14" y="23"/>
                    <a:pt x="27" y="8"/>
                  </a:cubicBezTo>
                  <a:cubicBezTo>
                    <a:pt x="25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2" name="Freeform 3334"/>
            <p:cNvSpPr/>
            <p:nvPr userDrawn="1"/>
          </p:nvSpPr>
          <p:spPr bwMode="auto">
            <a:xfrm>
              <a:off x="8746156" y="3371987"/>
              <a:ext cx="1239378" cy="1229172"/>
            </a:xfrm>
            <a:custGeom>
              <a:avLst/>
              <a:gdLst>
                <a:gd name="T0" fmla="*/ 21 w 608"/>
                <a:gd name="T1" fmla="*/ 21 h 604"/>
                <a:gd name="T2" fmla="*/ 88 w 608"/>
                <a:gd name="T3" fmla="*/ 287 h 604"/>
                <a:gd name="T4" fmla="*/ 589 w 608"/>
                <a:gd name="T5" fmla="*/ 595 h 604"/>
                <a:gd name="T6" fmla="*/ 608 w 608"/>
                <a:gd name="T7" fmla="*/ 604 h 604"/>
                <a:gd name="T8" fmla="*/ 598 w 608"/>
                <a:gd name="T9" fmla="*/ 586 h 604"/>
                <a:gd name="T10" fmla="*/ 290 w 608"/>
                <a:gd name="T11" fmla="*/ 90 h 604"/>
                <a:gd name="T12" fmla="*/ 21 w 608"/>
                <a:gd name="T13" fmla="*/ 2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8" h="604">
                  <a:moveTo>
                    <a:pt x="21" y="21"/>
                  </a:moveTo>
                  <a:cubicBezTo>
                    <a:pt x="0" y="61"/>
                    <a:pt x="7" y="186"/>
                    <a:pt x="88" y="287"/>
                  </a:cubicBezTo>
                  <a:cubicBezTo>
                    <a:pt x="169" y="394"/>
                    <a:pt x="325" y="477"/>
                    <a:pt x="589" y="595"/>
                  </a:cubicBezTo>
                  <a:cubicBezTo>
                    <a:pt x="595" y="598"/>
                    <a:pt x="601" y="601"/>
                    <a:pt x="608" y="604"/>
                  </a:cubicBezTo>
                  <a:cubicBezTo>
                    <a:pt x="604" y="598"/>
                    <a:pt x="602" y="592"/>
                    <a:pt x="598" y="586"/>
                  </a:cubicBezTo>
                  <a:cubicBezTo>
                    <a:pt x="481" y="325"/>
                    <a:pt x="399" y="171"/>
                    <a:pt x="290" y="90"/>
                  </a:cubicBezTo>
                  <a:cubicBezTo>
                    <a:pt x="189" y="9"/>
                    <a:pt x="62" y="0"/>
                    <a:pt x="21" y="21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3" name="Freeform 3335"/>
            <p:cNvSpPr/>
            <p:nvPr userDrawn="1"/>
          </p:nvSpPr>
          <p:spPr bwMode="auto">
            <a:xfrm>
              <a:off x="8756362" y="3382194"/>
              <a:ext cx="941927" cy="933179"/>
            </a:xfrm>
            <a:custGeom>
              <a:avLst/>
              <a:gdLst>
                <a:gd name="T0" fmla="*/ 16 w 462"/>
                <a:gd name="T1" fmla="*/ 15 h 459"/>
                <a:gd name="T2" fmla="*/ 67 w 462"/>
                <a:gd name="T3" fmla="*/ 218 h 459"/>
                <a:gd name="T4" fmla="*/ 448 w 462"/>
                <a:gd name="T5" fmla="*/ 452 h 459"/>
                <a:gd name="T6" fmla="*/ 462 w 462"/>
                <a:gd name="T7" fmla="*/ 459 h 459"/>
                <a:gd name="T8" fmla="*/ 455 w 462"/>
                <a:gd name="T9" fmla="*/ 445 h 459"/>
                <a:gd name="T10" fmla="*/ 221 w 462"/>
                <a:gd name="T11" fmla="*/ 68 h 459"/>
                <a:gd name="T12" fmla="*/ 16 w 462"/>
                <a:gd name="T13" fmla="*/ 15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2" h="459">
                  <a:moveTo>
                    <a:pt x="16" y="15"/>
                  </a:moveTo>
                  <a:cubicBezTo>
                    <a:pt x="0" y="46"/>
                    <a:pt x="5" y="141"/>
                    <a:pt x="67" y="218"/>
                  </a:cubicBezTo>
                  <a:cubicBezTo>
                    <a:pt x="129" y="299"/>
                    <a:pt x="247" y="362"/>
                    <a:pt x="448" y="452"/>
                  </a:cubicBezTo>
                  <a:cubicBezTo>
                    <a:pt x="453" y="454"/>
                    <a:pt x="457" y="457"/>
                    <a:pt x="462" y="459"/>
                  </a:cubicBezTo>
                  <a:cubicBezTo>
                    <a:pt x="459" y="454"/>
                    <a:pt x="457" y="450"/>
                    <a:pt x="455" y="445"/>
                  </a:cubicBezTo>
                  <a:cubicBezTo>
                    <a:pt x="366" y="247"/>
                    <a:pt x="303" y="130"/>
                    <a:pt x="221" y="68"/>
                  </a:cubicBezTo>
                  <a:cubicBezTo>
                    <a:pt x="144" y="6"/>
                    <a:pt x="47" y="0"/>
                    <a:pt x="16" y="15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4" name="Freeform 3336"/>
            <p:cNvSpPr/>
            <p:nvPr userDrawn="1"/>
          </p:nvSpPr>
          <p:spPr bwMode="auto">
            <a:xfrm>
              <a:off x="8766569" y="3389484"/>
              <a:ext cx="660515" cy="656141"/>
            </a:xfrm>
            <a:custGeom>
              <a:avLst/>
              <a:gdLst>
                <a:gd name="T0" fmla="*/ 11 w 324"/>
                <a:gd name="T1" fmla="*/ 11 h 322"/>
                <a:gd name="T2" fmla="*/ 47 w 324"/>
                <a:gd name="T3" fmla="*/ 153 h 322"/>
                <a:gd name="T4" fmla="*/ 314 w 324"/>
                <a:gd name="T5" fmla="*/ 318 h 322"/>
                <a:gd name="T6" fmla="*/ 324 w 324"/>
                <a:gd name="T7" fmla="*/ 322 h 322"/>
                <a:gd name="T8" fmla="*/ 319 w 324"/>
                <a:gd name="T9" fmla="*/ 313 h 322"/>
                <a:gd name="T10" fmla="*/ 155 w 324"/>
                <a:gd name="T11" fmla="*/ 48 h 322"/>
                <a:gd name="T12" fmla="*/ 11 w 324"/>
                <a:gd name="T13" fmla="*/ 1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322">
                  <a:moveTo>
                    <a:pt x="11" y="11"/>
                  </a:moveTo>
                  <a:cubicBezTo>
                    <a:pt x="0" y="33"/>
                    <a:pt x="4" y="99"/>
                    <a:pt x="47" y="153"/>
                  </a:cubicBezTo>
                  <a:cubicBezTo>
                    <a:pt x="90" y="210"/>
                    <a:pt x="173" y="255"/>
                    <a:pt x="314" y="318"/>
                  </a:cubicBezTo>
                  <a:cubicBezTo>
                    <a:pt x="317" y="319"/>
                    <a:pt x="321" y="321"/>
                    <a:pt x="324" y="322"/>
                  </a:cubicBezTo>
                  <a:cubicBezTo>
                    <a:pt x="322" y="319"/>
                    <a:pt x="321" y="316"/>
                    <a:pt x="319" y="313"/>
                  </a:cubicBezTo>
                  <a:cubicBezTo>
                    <a:pt x="257" y="174"/>
                    <a:pt x="213" y="91"/>
                    <a:pt x="155" y="48"/>
                  </a:cubicBezTo>
                  <a:cubicBezTo>
                    <a:pt x="101" y="5"/>
                    <a:pt x="33" y="0"/>
                    <a:pt x="11" y="11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5" name="Freeform 3337"/>
            <p:cNvSpPr/>
            <p:nvPr userDrawn="1"/>
          </p:nvSpPr>
          <p:spPr bwMode="auto">
            <a:xfrm>
              <a:off x="7680290" y="2301748"/>
              <a:ext cx="1612649" cy="1611192"/>
            </a:xfrm>
            <a:custGeom>
              <a:avLst/>
              <a:gdLst>
                <a:gd name="T0" fmla="*/ 62 w 791"/>
                <a:gd name="T1" fmla="*/ 63 h 792"/>
                <a:gd name="T2" fmla="*/ 62 w 791"/>
                <a:gd name="T3" fmla="*/ 64 h 792"/>
                <a:gd name="T4" fmla="*/ 0 w 791"/>
                <a:gd name="T5" fmla="*/ 167 h 792"/>
                <a:gd name="T6" fmla="*/ 277 w 791"/>
                <a:gd name="T7" fmla="*/ 551 h 792"/>
                <a:gd name="T8" fmla="*/ 515 w 791"/>
                <a:gd name="T9" fmla="*/ 792 h 792"/>
                <a:gd name="T10" fmla="*/ 628 w 791"/>
                <a:gd name="T11" fmla="*/ 629 h 792"/>
                <a:gd name="T12" fmla="*/ 791 w 791"/>
                <a:gd name="T13" fmla="*/ 517 h 792"/>
                <a:gd name="T14" fmla="*/ 549 w 791"/>
                <a:gd name="T15" fmla="*/ 279 h 792"/>
                <a:gd name="T16" fmla="*/ 164 w 791"/>
                <a:gd name="T17" fmla="*/ 0 h 792"/>
                <a:gd name="T18" fmla="*/ 62 w 791"/>
                <a:gd name="T19" fmla="*/ 63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1" h="792">
                  <a:moveTo>
                    <a:pt x="62" y="63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26" y="100"/>
                    <a:pt x="5" y="142"/>
                    <a:pt x="0" y="167"/>
                  </a:cubicBezTo>
                  <a:cubicBezTo>
                    <a:pt x="67" y="297"/>
                    <a:pt x="193" y="441"/>
                    <a:pt x="277" y="551"/>
                  </a:cubicBezTo>
                  <a:cubicBezTo>
                    <a:pt x="336" y="629"/>
                    <a:pt x="403" y="692"/>
                    <a:pt x="515" y="792"/>
                  </a:cubicBezTo>
                  <a:cubicBezTo>
                    <a:pt x="529" y="760"/>
                    <a:pt x="564" y="692"/>
                    <a:pt x="628" y="629"/>
                  </a:cubicBezTo>
                  <a:cubicBezTo>
                    <a:pt x="691" y="566"/>
                    <a:pt x="758" y="530"/>
                    <a:pt x="791" y="517"/>
                  </a:cubicBezTo>
                  <a:cubicBezTo>
                    <a:pt x="690" y="404"/>
                    <a:pt x="628" y="337"/>
                    <a:pt x="549" y="279"/>
                  </a:cubicBezTo>
                  <a:cubicBezTo>
                    <a:pt x="440" y="194"/>
                    <a:pt x="295" y="67"/>
                    <a:pt x="164" y="0"/>
                  </a:cubicBezTo>
                  <a:cubicBezTo>
                    <a:pt x="140" y="5"/>
                    <a:pt x="98" y="27"/>
                    <a:pt x="62" y="63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6" name="Freeform 3338"/>
            <p:cNvSpPr/>
            <p:nvPr userDrawn="1"/>
          </p:nvSpPr>
          <p:spPr bwMode="auto">
            <a:xfrm>
              <a:off x="7489281" y="2112196"/>
              <a:ext cx="524913" cy="526372"/>
            </a:xfrm>
            <a:custGeom>
              <a:avLst/>
              <a:gdLst>
                <a:gd name="T0" fmla="*/ 0 w 258"/>
                <a:gd name="T1" fmla="*/ 0 h 259"/>
                <a:gd name="T2" fmla="*/ 93 w 258"/>
                <a:gd name="T3" fmla="*/ 259 h 259"/>
                <a:gd name="T4" fmla="*/ 156 w 258"/>
                <a:gd name="T5" fmla="*/ 157 h 259"/>
                <a:gd name="T6" fmla="*/ 157 w 258"/>
                <a:gd name="T7" fmla="*/ 156 h 259"/>
                <a:gd name="T8" fmla="*/ 258 w 258"/>
                <a:gd name="T9" fmla="*/ 93 h 259"/>
                <a:gd name="T10" fmla="*/ 0 w 258"/>
                <a:gd name="T1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259">
                  <a:moveTo>
                    <a:pt x="0" y="0"/>
                  </a:moveTo>
                  <a:cubicBezTo>
                    <a:pt x="4" y="22"/>
                    <a:pt x="10" y="98"/>
                    <a:pt x="93" y="259"/>
                  </a:cubicBezTo>
                  <a:cubicBezTo>
                    <a:pt x="99" y="235"/>
                    <a:pt x="120" y="193"/>
                    <a:pt x="156" y="157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92" y="120"/>
                    <a:pt x="234" y="98"/>
                    <a:pt x="258" y="93"/>
                  </a:cubicBezTo>
                  <a:cubicBezTo>
                    <a:pt x="98" y="9"/>
                    <a:pt x="22" y="4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7" name="Freeform 3339"/>
            <p:cNvSpPr/>
            <p:nvPr userDrawn="1"/>
          </p:nvSpPr>
          <p:spPr bwMode="auto">
            <a:xfrm>
              <a:off x="8730116" y="3353032"/>
              <a:ext cx="635728" cy="635728"/>
            </a:xfrm>
            <a:custGeom>
              <a:avLst/>
              <a:gdLst>
                <a:gd name="T0" fmla="*/ 0 w 312"/>
                <a:gd name="T1" fmla="*/ 275 h 312"/>
                <a:gd name="T2" fmla="*/ 9 w 312"/>
                <a:gd name="T3" fmla="*/ 283 h 312"/>
                <a:gd name="T4" fmla="*/ 41 w 312"/>
                <a:gd name="T5" fmla="*/ 312 h 312"/>
                <a:gd name="T6" fmla="*/ 147 w 312"/>
                <a:gd name="T7" fmla="*/ 149 h 312"/>
                <a:gd name="T8" fmla="*/ 148 w 312"/>
                <a:gd name="T9" fmla="*/ 147 h 312"/>
                <a:gd name="T10" fmla="*/ 312 w 312"/>
                <a:gd name="T11" fmla="*/ 40 h 312"/>
                <a:gd name="T12" fmla="*/ 283 w 312"/>
                <a:gd name="T13" fmla="*/ 8 h 312"/>
                <a:gd name="T14" fmla="*/ 276 w 312"/>
                <a:gd name="T15" fmla="*/ 0 h 312"/>
                <a:gd name="T16" fmla="*/ 113 w 312"/>
                <a:gd name="T17" fmla="*/ 112 h 312"/>
                <a:gd name="T18" fmla="*/ 0 w 312"/>
                <a:gd name="T19" fmla="*/ 27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2" h="312">
                  <a:moveTo>
                    <a:pt x="0" y="275"/>
                  </a:moveTo>
                  <a:cubicBezTo>
                    <a:pt x="3" y="278"/>
                    <a:pt x="6" y="281"/>
                    <a:pt x="9" y="283"/>
                  </a:cubicBezTo>
                  <a:cubicBezTo>
                    <a:pt x="19" y="293"/>
                    <a:pt x="30" y="303"/>
                    <a:pt x="41" y="312"/>
                  </a:cubicBezTo>
                  <a:cubicBezTo>
                    <a:pt x="54" y="272"/>
                    <a:pt x="89" y="207"/>
                    <a:pt x="147" y="149"/>
                  </a:cubicBezTo>
                  <a:cubicBezTo>
                    <a:pt x="147" y="148"/>
                    <a:pt x="148" y="148"/>
                    <a:pt x="148" y="147"/>
                  </a:cubicBezTo>
                  <a:cubicBezTo>
                    <a:pt x="207" y="88"/>
                    <a:pt x="272" y="53"/>
                    <a:pt x="312" y="40"/>
                  </a:cubicBezTo>
                  <a:cubicBezTo>
                    <a:pt x="302" y="29"/>
                    <a:pt x="293" y="18"/>
                    <a:pt x="283" y="8"/>
                  </a:cubicBezTo>
                  <a:cubicBezTo>
                    <a:pt x="281" y="5"/>
                    <a:pt x="278" y="2"/>
                    <a:pt x="276" y="0"/>
                  </a:cubicBezTo>
                  <a:cubicBezTo>
                    <a:pt x="243" y="13"/>
                    <a:pt x="176" y="49"/>
                    <a:pt x="113" y="112"/>
                  </a:cubicBezTo>
                  <a:cubicBezTo>
                    <a:pt x="49" y="175"/>
                    <a:pt x="14" y="243"/>
                    <a:pt x="0" y="275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8" name="Freeform 3340"/>
            <p:cNvSpPr/>
            <p:nvPr userDrawn="1"/>
          </p:nvSpPr>
          <p:spPr bwMode="auto">
            <a:xfrm>
              <a:off x="9292939" y="3353032"/>
              <a:ext cx="13122" cy="16039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2" y="2"/>
                    <a:pt x="5" y="5"/>
                    <a:pt x="7" y="8"/>
                  </a:cubicBezTo>
                  <a:cubicBezTo>
                    <a:pt x="5" y="5"/>
                    <a:pt x="2" y="2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29" name="Freeform 3341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0" name="Freeform 3342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1" name="Freeform 3343"/>
            <p:cNvSpPr/>
            <p:nvPr userDrawn="1"/>
          </p:nvSpPr>
          <p:spPr bwMode="auto">
            <a:xfrm>
              <a:off x="8730116" y="3513423"/>
              <a:ext cx="313489" cy="415557"/>
            </a:xfrm>
            <a:custGeom>
              <a:avLst/>
              <a:gdLst>
                <a:gd name="T0" fmla="*/ 149 w 154"/>
                <a:gd name="T1" fmla="*/ 0 h 204"/>
                <a:gd name="T2" fmla="*/ 113 w 154"/>
                <a:gd name="T3" fmla="*/ 33 h 204"/>
                <a:gd name="T4" fmla="*/ 0 w 154"/>
                <a:gd name="T5" fmla="*/ 196 h 204"/>
                <a:gd name="T6" fmla="*/ 9 w 154"/>
                <a:gd name="T7" fmla="*/ 204 h 204"/>
                <a:gd name="T8" fmla="*/ 9 w 154"/>
                <a:gd name="T9" fmla="*/ 204 h 204"/>
                <a:gd name="T10" fmla="*/ 121 w 154"/>
                <a:gd name="T11" fmla="*/ 41 h 204"/>
                <a:gd name="T12" fmla="*/ 154 w 154"/>
                <a:gd name="T13" fmla="*/ 10 h 204"/>
                <a:gd name="T14" fmla="*/ 149 w 154"/>
                <a:gd name="T1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204">
                  <a:moveTo>
                    <a:pt x="149" y="0"/>
                  </a:moveTo>
                  <a:cubicBezTo>
                    <a:pt x="137" y="10"/>
                    <a:pt x="125" y="21"/>
                    <a:pt x="113" y="33"/>
                  </a:cubicBezTo>
                  <a:cubicBezTo>
                    <a:pt x="49" y="96"/>
                    <a:pt x="14" y="164"/>
                    <a:pt x="0" y="196"/>
                  </a:cubicBezTo>
                  <a:cubicBezTo>
                    <a:pt x="3" y="199"/>
                    <a:pt x="6" y="202"/>
                    <a:pt x="9" y="204"/>
                  </a:cubicBezTo>
                  <a:cubicBezTo>
                    <a:pt x="9" y="204"/>
                    <a:pt x="9" y="204"/>
                    <a:pt x="9" y="204"/>
                  </a:cubicBezTo>
                  <a:cubicBezTo>
                    <a:pt x="22" y="170"/>
                    <a:pt x="58" y="103"/>
                    <a:pt x="121" y="41"/>
                  </a:cubicBezTo>
                  <a:cubicBezTo>
                    <a:pt x="131" y="30"/>
                    <a:pt x="143" y="20"/>
                    <a:pt x="154" y="10"/>
                  </a:cubicBezTo>
                  <a:cubicBezTo>
                    <a:pt x="152" y="7"/>
                    <a:pt x="150" y="3"/>
                    <a:pt x="149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2" name="Freeform 3344"/>
            <p:cNvSpPr>
              <a:spLocks noEditPoints="1"/>
            </p:cNvSpPr>
            <p:nvPr userDrawn="1"/>
          </p:nvSpPr>
          <p:spPr bwMode="auto">
            <a:xfrm>
              <a:off x="7489281" y="2112196"/>
              <a:ext cx="487002" cy="169139"/>
            </a:xfrm>
            <a:custGeom>
              <a:avLst/>
              <a:gdLst>
                <a:gd name="T0" fmla="*/ 0 w 239"/>
                <a:gd name="T1" fmla="*/ 0 h 83"/>
                <a:gd name="T2" fmla="*/ 1 w 239"/>
                <a:gd name="T3" fmla="*/ 2 h 83"/>
                <a:gd name="T4" fmla="*/ 1 w 239"/>
                <a:gd name="T5" fmla="*/ 2 h 83"/>
                <a:gd name="T6" fmla="*/ 0 w 239"/>
                <a:gd name="T7" fmla="*/ 0 h 83"/>
                <a:gd name="T8" fmla="*/ 0 w 239"/>
                <a:gd name="T9" fmla="*/ 0 h 83"/>
                <a:gd name="T10" fmla="*/ 0 w 239"/>
                <a:gd name="T11" fmla="*/ 0 h 83"/>
                <a:gd name="T12" fmla="*/ 239 w 239"/>
                <a:gd name="T13" fmla="*/ 83 h 83"/>
                <a:gd name="T14" fmla="*/ 239 w 239"/>
                <a:gd name="T15" fmla="*/ 83 h 83"/>
                <a:gd name="T16" fmla="*/ 0 w 239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83">
                  <a:moveTo>
                    <a:pt x="0" y="0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4"/>
                    <a:pt x="92" y="9"/>
                    <a:pt x="239" y="83"/>
                  </a:cubicBezTo>
                  <a:cubicBezTo>
                    <a:pt x="239" y="83"/>
                    <a:pt x="239" y="83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3" name="Freeform 3345"/>
            <p:cNvSpPr/>
            <p:nvPr userDrawn="1"/>
          </p:nvSpPr>
          <p:spPr bwMode="auto">
            <a:xfrm>
              <a:off x="7489281" y="2112196"/>
              <a:ext cx="487002" cy="204133"/>
            </a:xfrm>
            <a:custGeom>
              <a:avLst/>
              <a:gdLst>
                <a:gd name="T0" fmla="*/ 0 w 239"/>
                <a:gd name="T1" fmla="*/ 0 h 100"/>
                <a:gd name="T2" fmla="*/ 0 w 239"/>
                <a:gd name="T3" fmla="*/ 0 h 100"/>
                <a:gd name="T4" fmla="*/ 1 w 239"/>
                <a:gd name="T5" fmla="*/ 2 h 100"/>
                <a:gd name="T6" fmla="*/ 1 w 239"/>
                <a:gd name="T7" fmla="*/ 2 h 100"/>
                <a:gd name="T8" fmla="*/ 1 w 239"/>
                <a:gd name="T9" fmla="*/ 1 h 100"/>
                <a:gd name="T10" fmla="*/ 3 w 239"/>
                <a:gd name="T11" fmla="*/ 3 h 100"/>
                <a:gd name="T12" fmla="*/ 60 w 239"/>
                <a:gd name="T13" fmla="*/ 29 h 100"/>
                <a:gd name="T14" fmla="*/ 60 w 239"/>
                <a:gd name="T15" fmla="*/ 30 h 100"/>
                <a:gd name="T16" fmla="*/ 201 w 239"/>
                <a:gd name="T17" fmla="*/ 100 h 100"/>
                <a:gd name="T18" fmla="*/ 239 w 239"/>
                <a:gd name="T19" fmla="*/ 83 h 100"/>
                <a:gd name="T20" fmla="*/ 0 w 239"/>
                <a:gd name="T2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0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2"/>
                    <a:pt x="2" y="2"/>
                    <a:pt x="3" y="3"/>
                  </a:cubicBezTo>
                  <a:cubicBezTo>
                    <a:pt x="19" y="11"/>
                    <a:pt x="38" y="19"/>
                    <a:pt x="60" y="29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99" y="47"/>
                    <a:pt x="148" y="71"/>
                    <a:pt x="201" y="100"/>
                  </a:cubicBezTo>
                  <a:cubicBezTo>
                    <a:pt x="215" y="92"/>
                    <a:pt x="229" y="86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4" name="Freeform 3346"/>
            <p:cNvSpPr>
              <a:spLocks noEditPoints="1"/>
            </p:cNvSpPr>
            <p:nvPr userDrawn="1"/>
          </p:nvSpPr>
          <p:spPr bwMode="auto">
            <a:xfrm>
              <a:off x="8012735" y="2298832"/>
              <a:ext cx="1280204" cy="1113982"/>
            </a:xfrm>
            <a:custGeom>
              <a:avLst/>
              <a:gdLst>
                <a:gd name="T0" fmla="*/ 628 w 628"/>
                <a:gd name="T1" fmla="*/ 518 h 547"/>
                <a:gd name="T2" fmla="*/ 571 w 628"/>
                <a:gd name="T3" fmla="*/ 547 h 547"/>
                <a:gd name="T4" fmla="*/ 571 w 628"/>
                <a:gd name="T5" fmla="*/ 547 h 547"/>
                <a:gd name="T6" fmla="*/ 628 w 628"/>
                <a:gd name="T7" fmla="*/ 518 h 547"/>
                <a:gd name="T8" fmla="*/ 1 w 628"/>
                <a:gd name="T9" fmla="*/ 1 h 547"/>
                <a:gd name="T10" fmla="*/ 1 w 628"/>
                <a:gd name="T11" fmla="*/ 1 h 547"/>
                <a:gd name="T12" fmla="*/ 206 w 628"/>
                <a:gd name="T13" fmla="*/ 137 h 547"/>
                <a:gd name="T14" fmla="*/ 1 w 628"/>
                <a:gd name="T15" fmla="*/ 1 h 547"/>
                <a:gd name="T16" fmla="*/ 0 w 628"/>
                <a:gd name="T17" fmla="*/ 0 h 547"/>
                <a:gd name="T18" fmla="*/ 0 w 628"/>
                <a:gd name="T19" fmla="*/ 0 h 547"/>
                <a:gd name="T20" fmla="*/ 1 w 628"/>
                <a:gd name="T21" fmla="*/ 1 h 547"/>
                <a:gd name="T22" fmla="*/ 1 w 628"/>
                <a:gd name="T23" fmla="*/ 1 h 547"/>
                <a:gd name="T24" fmla="*/ 0 w 628"/>
                <a:gd name="T25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47">
                  <a:moveTo>
                    <a:pt x="628" y="518"/>
                  </a:moveTo>
                  <a:cubicBezTo>
                    <a:pt x="614" y="523"/>
                    <a:pt x="594" y="533"/>
                    <a:pt x="571" y="547"/>
                  </a:cubicBezTo>
                  <a:cubicBezTo>
                    <a:pt x="571" y="547"/>
                    <a:pt x="571" y="547"/>
                    <a:pt x="571" y="547"/>
                  </a:cubicBezTo>
                  <a:cubicBezTo>
                    <a:pt x="594" y="533"/>
                    <a:pt x="614" y="523"/>
                    <a:pt x="628" y="518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68" y="35"/>
                    <a:pt x="138" y="85"/>
                    <a:pt x="206" y="137"/>
                  </a:cubicBezTo>
                  <a:cubicBezTo>
                    <a:pt x="138" y="85"/>
                    <a:pt x="68" y="35"/>
                    <a:pt x="1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5" name="Freeform 3347"/>
            <p:cNvSpPr/>
            <p:nvPr userDrawn="1"/>
          </p:nvSpPr>
          <p:spPr bwMode="auto">
            <a:xfrm>
              <a:off x="9147130" y="3412814"/>
              <a:ext cx="29162" cy="16039"/>
            </a:xfrm>
            <a:custGeom>
              <a:avLst/>
              <a:gdLst>
                <a:gd name="T0" fmla="*/ 14 w 14"/>
                <a:gd name="T1" fmla="*/ 0 h 8"/>
                <a:gd name="T2" fmla="*/ 0 w 14"/>
                <a:gd name="T3" fmla="*/ 8 h 8"/>
                <a:gd name="T4" fmla="*/ 14 w 14"/>
                <a:gd name="T5" fmla="*/ 0 h 8"/>
                <a:gd name="T6" fmla="*/ 14 w 1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8">
                  <a:moveTo>
                    <a:pt x="14" y="0"/>
                  </a:moveTo>
                  <a:cubicBezTo>
                    <a:pt x="9" y="2"/>
                    <a:pt x="5" y="5"/>
                    <a:pt x="0" y="8"/>
                  </a:cubicBezTo>
                  <a:cubicBezTo>
                    <a:pt x="5" y="5"/>
                    <a:pt x="9" y="3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85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6" name="Freeform 3348"/>
            <p:cNvSpPr/>
            <p:nvPr userDrawn="1"/>
          </p:nvSpPr>
          <p:spPr bwMode="auto">
            <a:xfrm>
              <a:off x="7932541" y="2301748"/>
              <a:ext cx="1360399" cy="1211675"/>
            </a:xfrm>
            <a:custGeom>
              <a:avLst/>
              <a:gdLst>
                <a:gd name="T0" fmla="*/ 40 w 667"/>
                <a:gd name="T1" fmla="*/ 0 h 596"/>
                <a:gd name="T2" fmla="*/ 0 w 667"/>
                <a:gd name="T3" fmla="*/ 16 h 596"/>
                <a:gd name="T4" fmla="*/ 287 w 667"/>
                <a:gd name="T5" fmla="*/ 225 h 596"/>
                <a:gd name="T6" fmla="*/ 540 w 667"/>
                <a:gd name="T7" fmla="*/ 596 h 596"/>
                <a:gd name="T8" fmla="*/ 596 w 667"/>
                <a:gd name="T9" fmla="*/ 554 h 596"/>
                <a:gd name="T10" fmla="*/ 610 w 667"/>
                <a:gd name="T11" fmla="*/ 546 h 596"/>
                <a:gd name="T12" fmla="*/ 667 w 667"/>
                <a:gd name="T13" fmla="*/ 517 h 596"/>
                <a:gd name="T14" fmla="*/ 667 w 667"/>
                <a:gd name="T15" fmla="*/ 517 h 596"/>
                <a:gd name="T16" fmla="*/ 515 w 667"/>
                <a:gd name="T17" fmla="*/ 355 h 596"/>
                <a:gd name="T18" fmla="*/ 484 w 667"/>
                <a:gd name="T19" fmla="*/ 326 h 596"/>
                <a:gd name="T20" fmla="*/ 425 w 667"/>
                <a:gd name="T21" fmla="*/ 279 h 596"/>
                <a:gd name="T22" fmla="*/ 425 w 667"/>
                <a:gd name="T23" fmla="*/ 279 h 596"/>
                <a:gd name="T24" fmla="*/ 245 w 667"/>
                <a:gd name="T25" fmla="*/ 136 h 596"/>
                <a:gd name="T26" fmla="*/ 40 w 667"/>
                <a:gd name="T2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7" h="596">
                  <a:moveTo>
                    <a:pt x="40" y="0"/>
                  </a:moveTo>
                  <a:cubicBezTo>
                    <a:pt x="29" y="2"/>
                    <a:pt x="15" y="8"/>
                    <a:pt x="0" y="16"/>
                  </a:cubicBezTo>
                  <a:cubicBezTo>
                    <a:pt x="95" y="69"/>
                    <a:pt x="201" y="139"/>
                    <a:pt x="287" y="225"/>
                  </a:cubicBezTo>
                  <a:cubicBezTo>
                    <a:pt x="373" y="315"/>
                    <a:pt x="462" y="421"/>
                    <a:pt x="540" y="596"/>
                  </a:cubicBezTo>
                  <a:cubicBezTo>
                    <a:pt x="559" y="579"/>
                    <a:pt x="579" y="566"/>
                    <a:pt x="596" y="554"/>
                  </a:cubicBezTo>
                  <a:cubicBezTo>
                    <a:pt x="601" y="551"/>
                    <a:pt x="605" y="548"/>
                    <a:pt x="610" y="546"/>
                  </a:cubicBezTo>
                  <a:cubicBezTo>
                    <a:pt x="633" y="532"/>
                    <a:pt x="653" y="522"/>
                    <a:pt x="667" y="517"/>
                  </a:cubicBezTo>
                  <a:cubicBezTo>
                    <a:pt x="667" y="517"/>
                    <a:pt x="667" y="517"/>
                    <a:pt x="667" y="517"/>
                  </a:cubicBezTo>
                  <a:cubicBezTo>
                    <a:pt x="606" y="449"/>
                    <a:pt x="559" y="397"/>
                    <a:pt x="515" y="355"/>
                  </a:cubicBezTo>
                  <a:cubicBezTo>
                    <a:pt x="504" y="345"/>
                    <a:pt x="494" y="335"/>
                    <a:pt x="484" y="326"/>
                  </a:cubicBezTo>
                  <a:cubicBezTo>
                    <a:pt x="465" y="309"/>
                    <a:pt x="446" y="294"/>
                    <a:pt x="425" y="279"/>
                  </a:cubicBezTo>
                  <a:cubicBezTo>
                    <a:pt x="425" y="279"/>
                    <a:pt x="425" y="279"/>
                    <a:pt x="425" y="279"/>
                  </a:cubicBezTo>
                  <a:cubicBezTo>
                    <a:pt x="372" y="237"/>
                    <a:pt x="310" y="186"/>
                    <a:pt x="245" y="136"/>
                  </a:cubicBezTo>
                  <a:cubicBezTo>
                    <a:pt x="177" y="84"/>
                    <a:pt x="107" y="34"/>
                    <a:pt x="4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7" name="Freeform 3349"/>
            <p:cNvSpPr/>
            <p:nvPr userDrawn="1"/>
          </p:nvSpPr>
          <p:spPr bwMode="auto">
            <a:xfrm>
              <a:off x="7931082" y="2298832"/>
              <a:ext cx="83111" cy="34994"/>
            </a:xfrm>
            <a:custGeom>
              <a:avLst/>
              <a:gdLst>
                <a:gd name="T0" fmla="*/ 40 w 41"/>
                <a:gd name="T1" fmla="*/ 0 h 17"/>
                <a:gd name="T2" fmla="*/ 0 w 41"/>
                <a:gd name="T3" fmla="*/ 17 h 17"/>
                <a:gd name="T4" fmla="*/ 1 w 41"/>
                <a:gd name="T5" fmla="*/ 17 h 17"/>
                <a:gd name="T6" fmla="*/ 41 w 41"/>
                <a:gd name="T7" fmla="*/ 1 h 17"/>
                <a:gd name="T8" fmla="*/ 41 w 41"/>
                <a:gd name="T9" fmla="*/ 1 h 17"/>
                <a:gd name="T10" fmla="*/ 41 w 41"/>
                <a:gd name="T11" fmla="*/ 1 h 17"/>
                <a:gd name="T12" fmla="*/ 41 w 41"/>
                <a:gd name="T13" fmla="*/ 1 h 17"/>
                <a:gd name="T14" fmla="*/ 40 w 41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40" y="0"/>
                  </a:moveTo>
                  <a:cubicBezTo>
                    <a:pt x="29" y="3"/>
                    <a:pt x="15" y="8"/>
                    <a:pt x="0" y="17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16" y="9"/>
                    <a:pt x="30" y="3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0" y="0"/>
                    <a:pt x="4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8" name="Freeform 3350"/>
            <p:cNvSpPr/>
            <p:nvPr userDrawn="1"/>
          </p:nvSpPr>
          <p:spPr bwMode="auto">
            <a:xfrm>
              <a:off x="9314811" y="3409898"/>
              <a:ext cx="51033" cy="43743"/>
            </a:xfrm>
            <a:custGeom>
              <a:avLst/>
              <a:gdLst>
                <a:gd name="T0" fmla="*/ 15 w 25"/>
                <a:gd name="T1" fmla="*/ 0 h 21"/>
                <a:gd name="T2" fmla="*/ 25 w 25"/>
                <a:gd name="T3" fmla="*/ 12 h 21"/>
                <a:gd name="T4" fmla="*/ 0 w 25"/>
                <a:gd name="T5" fmla="*/ 21 h 21"/>
                <a:gd name="T6" fmla="*/ 25 w 25"/>
                <a:gd name="T7" fmla="*/ 12 h 21"/>
                <a:gd name="T8" fmla="*/ 15 w 2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15" y="0"/>
                  </a:moveTo>
                  <a:cubicBezTo>
                    <a:pt x="18" y="4"/>
                    <a:pt x="21" y="8"/>
                    <a:pt x="25" y="12"/>
                  </a:cubicBezTo>
                  <a:cubicBezTo>
                    <a:pt x="17" y="14"/>
                    <a:pt x="9" y="17"/>
                    <a:pt x="0" y="21"/>
                  </a:cubicBezTo>
                  <a:cubicBezTo>
                    <a:pt x="9" y="17"/>
                    <a:pt x="18" y="14"/>
                    <a:pt x="25" y="12"/>
                  </a:cubicBezTo>
                  <a:cubicBezTo>
                    <a:pt x="21" y="8"/>
                    <a:pt x="18" y="4"/>
                    <a:pt x="1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39" name="Freeform 3351"/>
            <p:cNvSpPr/>
            <p:nvPr userDrawn="1"/>
          </p:nvSpPr>
          <p:spPr bwMode="auto">
            <a:xfrm>
              <a:off x="9043606" y="3369071"/>
              <a:ext cx="322238" cy="242043"/>
            </a:xfrm>
            <a:custGeom>
              <a:avLst/>
              <a:gdLst>
                <a:gd name="T0" fmla="*/ 130 w 158"/>
                <a:gd name="T1" fmla="*/ 0 h 119"/>
                <a:gd name="T2" fmla="*/ 0 w 158"/>
                <a:gd name="T3" fmla="*/ 81 h 119"/>
                <a:gd name="T4" fmla="*/ 12 w 158"/>
                <a:gd name="T5" fmla="*/ 110 h 119"/>
                <a:gd name="T6" fmla="*/ 12 w 158"/>
                <a:gd name="T7" fmla="*/ 110 h 119"/>
                <a:gd name="T8" fmla="*/ 15 w 158"/>
                <a:gd name="T9" fmla="*/ 119 h 119"/>
                <a:gd name="T10" fmla="*/ 133 w 158"/>
                <a:gd name="T11" fmla="*/ 41 h 119"/>
                <a:gd name="T12" fmla="*/ 158 w 158"/>
                <a:gd name="T13" fmla="*/ 32 h 119"/>
                <a:gd name="T14" fmla="*/ 148 w 158"/>
                <a:gd name="T15" fmla="*/ 20 h 119"/>
                <a:gd name="T16" fmla="*/ 130 w 158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19">
                  <a:moveTo>
                    <a:pt x="130" y="0"/>
                  </a:moveTo>
                  <a:cubicBezTo>
                    <a:pt x="102" y="11"/>
                    <a:pt x="51" y="37"/>
                    <a:pt x="0" y="81"/>
                  </a:cubicBezTo>
                  <a:cubicBezTo>
                    <a:pt x="4" y="91"/>
                    <a:pt x="8" y="10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3"/>
                    <a:pt x="14" y="116"/>
                    <a:pt x="15" y="119"/>
                  </a:cubicBezTo>
                  <a:cubicBezTo>
                    <a:pt x="56" y="81"/>
                    <a:pt x="99" y="56"/>
                    <a:pt x="133" y="41"/>
                  </a:cubicBezTo>
                  <a:cubicBezTo>
                    <a:pt x="142" y="37"/>
                    <a:pt x="150" y="34"/>
                    <a:pt x="158" y="32"/>
                  </a:cubicBezTo>
                  <a:cubicBezTo>
                    <a:pt x="154" y="28"/>
                    <a:pt x="151" y="24"/>
                    <a:pt x="148" y="20"/>
                  </a:cubicBezTo>
                  <a:cubicBezTo>
                    <a:pt x="142" y="13"/>
                    <a:pt x="136" y="7"/>
                    <a:pt x="130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0" name="Freeform 3352"/>
            <p:cNvSpPr/>
            <p:nvPr userDrawn="1"/>
          </p:nvSpPr>
          <p:spPr bwMode="auto">
            <a:xfrm>
              <a:off x="9033399" y="3353032"/>
              <a:ext cx="275579" cy="180803"/>
            </a:xfrm>
            <a:custGeom>
              <a:avLst/>
              <a:gdLst>
                <a:gd name="T0" fmla="*/ 127 w 135"/>
                <a:gd name="T1" fmla="*/ 0 h 89"/>
                <a:gd name="T2" fmla="*/ 127 w 135"/>
                <a:gd name="T3" fmla="*/ 0 h 89"/>
                <a:gd name="T4" fmla="*/ 127 w 135"/>
                <a:gd name="T5" fmla="*/ 0 h 89"/>
                <a:gd name="T6" fmla="*/ 56 w 135"/>
                <a:gd name="T7" fmla="*/ 37 h 89"/>
                <a:gd name="T8" fmla="*/ 0 w 135"/>
                <a:gd name="T9" fmla="*/ 79 h 89"/>
                <a:gd name="T10" fmla="*/ 5 w 135"/>
                <a:gd name="T11" fmla="*/ 89 h 89"/>
                <a:gd name="T12" fmla="*/ 135 w 135"/>
                <a:gd name="T13" fmla="*/ 8 h 89"/>
                <a:gd name="T14" fmla="*/ 134 w 135"/>
                <a:gd name="T15" fmla="*/ 8 h 89"/>
                <a:gd name="T16" fmla="*/ 134 w 135"/>
                <a:gd name="T17" fmla="*/ 8 h 89"/>
                <a:gd name="T18" fmla="*/ 134 w 135"/>
                <a:gd name="T19" fmla="*/ 8 h 89"/>
                <a:gd name="T20" fmla="*/ 127 w 135"/>
                <a:gd name="T21" fmla="*/ 0 h 89"/>
                <a:gd name="T22" fmla="*/ 127 w 13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" h="89"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10" y="6"/>
                    <a:pt x="85" y="19"/>
                    <a:pt x="56" y="37"/>
                  </a:cubicBezTo>
                  <a:cubicBezTo>
                    <a:pt x="39" y="49"/>
                    <a:pt x="19" y="62"/>
                    <a:pt x="0" y="79"/>
                  </a:cubicBezTo>
                  <a:cubicBezTo>
                    <a:pt x="1" y="82"/>
                    <a:pt x="3" y="86"/>
                    <a:pt x="5" y="89"/>
                  </a:cubicBezTo>
                  <a:cubicBezTo>
                    <a:pt x="56" y="45"/>
                    <a:pt x="107" y="19"/>
                    <a:pt x="135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2" y="5"/>
                    <a:pt x="129" y="2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1" name="Freeform 3353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1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1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7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2" name="Freeform 3354"/>
            <p:cNvSpPr/>
            <p:nvPr userDrawn="1"/>
          </p:nvSpPr>
          <p:spPr bwMode="auto">
            <a:xfrm>
              <a:off x="7751737" y="2316329"/>
              <a:ext cx="179345" cy="154558"/>
            </a:xfrm>
            <a:custGeom>
              <a:avLst/>
              <a:gdLst>
                <a:gd name="T0" fmla="*/ 72 w 88"/>
                <a:gd name="T1" fmla="*/ 0 h 76"/>
                <a:gd name="T2" fmla="*/ 15 w 88"/>
                <a:gd name="T3" fmla="*/ 44 h 76"/>
                <a:gd name="T4" fmla="*/ 15 w 88"/>
                <a:gd name="T5" fmla="*/ 45 h 76"/>
                <a:gd name="T6" fmla="*/ 0 w 88"/>
                <a:gd name="T7" fmla="*/ 61 h 76"/>
                <a:gd name="T8" fmla="*/ 8 w 88"/>
                <a:gd name="T9" fmla="*/ 76 h 76"/>
                <a:gd name="T10" fmla="*/ 26 w 88"/>
                <a:gd name="T11" fmla="*/ 56 h 76"/>
                <a:gd name="T12" fmla="*/ 27 w 88"/>
                <a:gd name="T13" fmla="*/ 55 h 76"/>
                <a:gd name="T14" fmla="*/ 88 w 88"/>
                <a:gd name="T15" fmla="*/ 9 h 76"/>
                <a:gd name="T16" fmla="*/ 72 w 88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76">
                  <a:moveTo>
                    <a:pt x="72" y="0"/>
                  </a:moveTo>
                  <a:cubicBezTo>
                    <a:pt x="54" y="10"/>
                    <a:pt x="34" y="25"/>
                    <a:pt x="15" y="4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9" y="50"/>
                    <a:pt x="4" y="55"/>
                    <a:pt x="0" y="61"/>
                  </a:cubicBezTo>
                  <a:cubicBezTo>
                    <a:pt x="3" y="66"/>
                    <a:pt x="5" y="71"/>
                    <a:pt x="8" y="76"/>
                  </a:cubicBezTo>
                  <a:cubicBezTo>
                    <a:pt x="14" y="69"/>
                    <a:pt x="20" y="62"/>
                    <a:pt x="26" y="56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7" y="35"/>
                    <a:pt x="68" y="19"/>
                    <a:pt x="88" y="9"/>
                  </a:cubicBezTo>
                  <a:cubicBezTo>
                    <a:pt x="82" y="6"/>
                    <a:pt x="77" y="3"/>
                    <a:pt x="72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3" name="Freeform 3355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0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0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6" y="3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4" name="Freeform 3356"/>
            <p:cNvSpPr/>
            <p:nvPr userDrawn="1"/>
          </p:nvSpPr>
          <p:spPr bwMode="auto">
            <a:xfrm>
              <a:off x="7899004" y="2281335"/>
              <a:ext cx="113731" cy="52491"/>
            </a:xfrm>
            <a:custGeom>
              <a:avLst/>
              <a:gdLst>
                <a:gd name="T0" fmla="*/ 38 w 56"/>
                <a:gd name="T1" fmla="*/ 0 h 26"/>
                <a:gd name="T2" fmla="*/ 0 w 56"/>
                <a:gd name="T3" fmla="*/ 17 h 26"/>
                <a:gd name="T4" fmla="*/ 16 w 56"/>
                <a:gd name="T5" fmla="*/ 26 h 26"/>
                <a:gd name="T6" fmla="*/ 56 w 56"/>
                <a:gd name="T7" fmla="*/ 9 h 26"/>
                <a:gd name="T8" fmla="*/ 38 w 56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6">
                  <a:moveTo>
                    <a:pt x="38" y="0"/>
                  </a:moveTo>
                  <a:cubicBezTo>
                    <a:pt x="28" y="3"/>
                    <a:pt x="14" y="9"/>
                    <a:pt x="0" y="17"/>
                  </a:cubicBezTo>
                  <a:cubicBezTo>
                    <a:pt x="5" y="20"/>
                    <a:pt x="10" y="23"/>
                    <a:pt x="16" y="26"/>
                  </a:cubicBezTo>
                  <a:cubicBezTo>
                    <a:pt x="31" y="17"/>
                    <a:pt x="45" y="12"/>
                    <a:pt x="56" y="9"/>
                  </a:cubicBezTo>
                  <a:cubicBezTo>
                    <a:pt x="50" y="6"/>
                    <a:pt x="44" y="3"/>
                    <a:pt x="38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5" name="Freeform 3357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6" name="Freeform 3358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7" name="Freeform 3359"/>
            <p:cNvSpPr/>
            <p:nvPr userDrawn="1"/>
          </p:nvSpPr>
          <p:spPr bwMode="auto">
            <a:xfrm>
              <a:off x="7680290" y="2472345"/>
              <a:ext cx="438885" cy="788828"/>
            </a:xfrm>
            <a:custGeom>
              <a:avLst/>
              <a:gdLst>
                <a:gd name="T0" fmla="*/ 215 w 215"/>
                <a:gd name="T1" fmla="*/ 388 h 388"/>
                <a:gd name="T2" fmla="*/ 44 w 215"/>
                <a:gd name="T3" fmla="*/ 0 h 388"/>
                <a:gd name="T4" fmla="*/ 0 w 215"/>
                <a:gd name="T5" fmla="*/ 83 h 388"/>
                <a:gd name="T6" fmla="*/ 215 w 215"/>
                <a:gd name="T7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5" h="388">
                  <a:moveTo>
                    <a:pt x="215" y="388"/>
                  </a:moveTo>
                  <a:cubicBezTo>
                    <a:pt x="112" y="256"/>
                    <a:pt x="108" y="105"/>
                    <a:pt x="44" y="0"/>
                  </a:cubicBezTo>
                  <a:cubicBezTo>
                    <a:pt x="18" y="31"/>
                    <a:pt x="4" y="62"/>
                    <a:pt x="0" y="83"/>
                  </a:cubicBezTo>
                  <a:cubicBezTo>
                    <a:pt x="52" y="184"/>
                    <a:pt x="139" y="293"/>
                    <a:pt x="215" y="3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8" name="Freeform 3360"/>
            <p:cNvSpPr/>
            <p:nvPr userDrawn="1"/>
          </p:nvSpPr>
          <p:spPr bwMode="auto">
            <a:xfrm>
              <a:off x="7490739" y="2116571"/>
              <a:ext cx="260998" cy="484086"/>
            </a:xfrm>
            <a:custGeom>
              <a:avLst/>
              <a:gdLst>
                <a:gd name="T0" fmla="*/ 0 w 128"/>
                <a:gd name="T1" fmla="*/ 0 h 238"/>
                <a:gd name="T2" fmla="*/ 82 w 128"/>
                <a:gd name="T3" fmla="*/ 238 h 238"/>
                <a:gd name="T4" fmla="*/ 128 w 128"/>
                <a:gd name="T5" fmla="*/ 159 h 238"/>
                <a:gd name="T6" fmla="*/ 10 w 128"/>
                <a:gd name="T7" fmla="*/ 9 h 238"/>
                <a:gd name="T8" fmla="*/ 2 w 128"/>
                <a:gd name="T9" fmla="*/ 1 h 238"/>
                <a:gd name="T10" fmla="*/ 0 w 128"/>
                <a:gd name="T1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238">
                  <a:moveTo>
                    <a:pt x="0" y="0"/>
                  </a:moveTo>
                  <a:cubicBezTo>
                    <a:pt x="4" y="23"/>
                    <a:pt x="10" y="94"/>
                    <a:pt x="82" y="238"/>
                  </a:cubicBezTo>
                  <a:cubicBezTo>
                    <a:pt x="88" y="217"/>
                    <a:pt x="103" y="187"/>
                    <a:pt x="128" y="159"/>
                  </a:cubicBezTo>
                  <a:cubicBezTo>
                    <a:pt x="97" y="105"/>
                    <a:pt x="57" y="56"/>
                    <a:pt x="10" y="9"/>
                  </a:cubicBezTo>
                  <a:cubicBezTo>
                    <a:pt x="7" y="6"/>
                    <a:pt x="4" y="4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49" name="Freeform 3361"/>
            <p:cNvSpPr/>
            <p:nvPr userDrawn="1"/>
          </p:nvSpPr>
          <p:spPr bwMode="auto">
            <a:xfrm>
              <a:off x="7490739" y="2113655"/>
              <a:ext cx="4374" cy="43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0" name="Freeform 3362"/>
            <p:cNvSpPr/>
            <p:nvPr userDrawn="1"/>
          </p:nvSpPr>
          <p:spPr bwMode="auto">
            <a:xfrm>
              <a:off x="7680290" y="2596282"/>
              <a:ext cx="13122" cy="39369"/>
            </a:xfrm>
            <a:custGeom>
              <a:avLst/>
              <a:gdLst>
                <a:gd name="T0" fmla="*/ 6 w 6"/>
                <a:gd name="T1" fmla="*/ 0 h 19"/>
                <a:gd name="T2" fmla="*/ 0 w 6"/>
                <a:gd name="T3" fmla="*/ 19 h 19"/>
                <a:gd name="T4" fmla="*/ 6 w 6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6" y="0"/>
                  </a:moveTo>
                  <a:cubicBezTo>
                    <a:pt x="3" y="7"/>
                    <a:pt x="1" y="14"/>
                    <a:pt x="0" y="19"/>
                  </a:cubicBezTo>
                  <a:cubicBezTo>
                    <a:pt x="1" y="14"/>
                    <a:pt x="3" y="7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1" name="Freeform 3363"/>
            <p:cNvSpPr/>
            <p:nvPr userDrawn="1"/>
          </p:nvSpPr>
          <p:spPr bwMode="auto">
            <a:xfrm>
              <a:off x="7678833" y="2470887"/>
              <a:ext cx="91859" cy="167681"/>
            </a:xfrm>
            <a:custGeom>
              <a:avLst/>
              <a:gdLst>
                <a:gd name="T0" fmla="*/ 44 w 45"/>
                <a:gd name="T1" fmla="*/ 0 h 83"/>
                <a:gd name="T2" fmla="*/ 0 w 45"/>
                <a:gd name="T3" fmla="*/ 82 h 83"/>
                <a:gd name="T4" fmla="*/ 0 w 45"/>
                <a:gd name="T5" fmla="*/ 83 h 83"/>
                <a:gd name="T6" fmla="*/ 1 w 45"/>
                <a:gd name="T7" fmla="*/ 81 h 83"/>
                <a:gd name="T8" fmla="*/ 7 w 45"/>
                <a:gd name="T9" fmla="*/ 62 h 83"/>
                <a:gd name="T10" fmla="*/ 45 w 45"/>
                <a:gd name="T11" fmla="*/ 1 h 83"/>
                <a:gd name="T12" fmla="*/ 44 w 45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83">
                  <a:moveTo>
                    <a:pt x="44" y="0"/>
                  </a:moveTo>
                  <a:cubicBezTo>
                    <a:pt x="19" y="30"/>
                    <a:pt x="4" y="62"/>
                    <a:pt x="0" y="82"/>
                  </a:cubicBezTo>
                  <a:cubicBezTo>
                    <a:pt x="0" y="82"/>
                    <a:pt x="0" y="83"/>
                    <a:pt x="0" y="83"/>
                  </a:cubicBezTo>
                  <a:cubicBezTo>
                    <a:pt x="1" y="83"/>
                    <a:pt x="1" y="82"/>
                    <a:pt x="1" y="81"/>
                  </a:cubicBezTo>
                  <a:cubicBezTo>
                    <a:pt x="2" y="76"/>
                    <a:pt x="4" y="69"/>
                    <a:pt x="7" y="62"/>
                  </a:cubicBezTo>
                  <a:cubicBezTo>
                    <a:pt x="15" y="44"/>
                    <a:pt x="27" y="22"/>
                    <a:pt x="45" y="1"/>
                  </a:cubicBezTo>
                  <a:cubicBezTo>
                    <a:pt x="45" y="0"/>
                    <a:pt x="44" y="0"/>
                    <a:pt x="44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2" name="Freeform 3364"/>
            <p:cNvSpPr/>
            <p:nvPr userDrawn="1"/>
          </p:nvSpPr>
          <p:spPr bwMode="auto">
            <a:xfrm>
              <a:off x="7658420" y="2440267"/>
              <a:ext cx="109356" cy="196843"/>
            </a:xfrm>
            <a:custGeom>
              <a:avLst/>
              <a:gdLst>
                <a:gd name="T0" fmla="*/ 46 w 54"/>
                <a:gd name="T1" fmla="*/ 0 h 97"/>
                <a:gd name="T2" fmla="*/ 0 w 54"/>
                <a:gd name="T3" fmla="*/ 79 h 97"/>
                <a:gd name="T4" fmla="*/ 10 w 54"/>
                <a:gd name="T5" fmla="*/ 97 h 97"/>
                <a:gd name="T6" fmla="*/ 54 w 54"/>
                <a:gd name="T7" fmla="*/ 15 h 97"/>
                <a:gd name="T8" fmla="*/ 46 w 5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7">
                  <a:moveTo>
                    <a:pt x="46" y="0"/>
                  </a:moveTo>
                  <a:cubicBezTo>
                    <a:pt x="21" y="28"/>
                    <a:pt x="6" y="58"/>
                    <a:pt x="0" y="79"/>
                  </a:cubicBezTo>
                  <a:cubicBezTo>
                    <a:pt x="3" y="85"/>
                    <a:pt x="6" y="91"/>
                    <a:pt x="10" y="97"/>
                  </a:cubicBezTo>
                  <a:cubicBezTo>
                    <a:pt x="14" y="77"/>
                    <a:pt x="29" y="45"/>
                    <a:pt x="54" y="15"/>
                  </a:cubicBezTo>
                  <a:cubicBezTo>
                    <a:pt x="51" y="10"/>
                    <a:pt x="49" y="5"/>
                    <a:pt x="46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3" name="Freeform 3365"/>
            <p:cNvSpPr/>
            <p:nvPr userDrawn="1"/>
          </p:nvSpPr>
          <p:spPr bwMode="auto">
            <a:xfrm>
              <a:off x="8219784" y="2873320"/>
              <a:ext cx="260998" cy="259540"/>
            </a:xfrm>
            <a:custGeom>
              <a:avLst/>
              <a:gdLst>
                <a:gd name="T0" fmla="*/ 23 w 128"/>
                <a:gd name="T1" fmla="*/ 23 h 128"/>
                <a:gd name="T2" fmla="*/ 23 w 128"/>
                <a:gd name="T3" fmla="*/ 105 h 128"/>
                <a:gd name="T4" fmla="*/ 105 w 128"/>
                <a:gd name="T5" fmla="*/ 105 h 128"/>
                <a:gd name="T6" fmla="*/ 105 w 128"/>
                <a:gd name="T7" fmla="*/ 23 h 128"/>
                <a:gd name="T8" fmla="*/ 23 w 128"/>
                <a:gd name="T9" fmla="*/ 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8">
                  <a:moveTo>
                    <a:pt x="23" y="23"/>
                  </a:moveTo>
                  <a:cubicBezTo>
                    <a:pt x="0" y="46"/>
                    <a:pt x="0" y="82"/>
                    <a:pt x="23" y="105"/>
                  </a:cubicBezTo>
                  <a:cubicBezTo>
                    <a:pt x="45" y="128"/>
                    <a:pt x="82" y="128"/>
                    <a:pt x="105" y="105"/>
                  </a:cubicBezTo>
                  <a:cubicBezTo>
                    <a:pt x="128" y="82"/>
                    <a:pt x="128" y="46"/>
                    <a:pt x="105" y="23"/>
                  </a:cubicBezTo>
                  <a:cubicBezTo>
                    <a:pt x="82" y="0"/>
                    <a:pt x="45" y="0"/>
                    <a:pt x="2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4" name="Freeform 3366"/>
            <p:cNvSpPr/>
            <p:nvPr userDrawn="1"/>
          </p:nvSpPr>
          <p:spPr bwMode="auto">
            <a:xfrm>
              <a:off x="8206662" y="2842700"/>
              <a:ext cx="317864" cy="320780"/>
            </a:xfrm>
            <a:custGeom>
              <a:avLst/>
              <a:gdLst>
                <a:gd name="T0" fmla="*/ 27 w 156"/>
                <a:gd name="T1" fmla="*/ 28 h 158"/>
                <a:gd name="T2" fmla="*/ 27 w 156"/>
                <a:gd name="T3" fmla="*/ 130 h 158"/>
                <a:gd name="T4" fmla="*/ 129 w 156"/>
                <a:gd name="T5" fmla="*/ 130 h 158"/>
                <a:gd name="T6" fmla="*/ 129 w 156"/>
                <a:gd name="T7" fmla="*/ 28 h 158"/>
                <a:gd name="T8" fmla="*/ 27 w 156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8">
                  <a:moveTo>
                    <a:pt x="27" y="28"/>
                  </a:moveTo>
                  <a:cubicBezTo>
                    <a:pt x="0" y="56"/>
                    <a:pt x="0" y="102"/>
                    <a:pt x="27" y="130"/>
                  </a:cubicBezTo>
                  <a:cubicBezTo>
                    <a:pt x="55" y="158"/>
                    <a:pt x="101" y="158"/>
                    <a:pt x="129" y="130"/>
                  </a:cubicBezTo>
                  <a:cubicBezTo>
                    <a:pt x="156" y="102"/>
                    <a:pt x="156" y="56"/>
                    <a:pt x="129" y="28"/>
                  </a:cubicBezTo>
                  <a:cubicBezTo>
                    <a:pt x="101" y="0"/>
                    <a:pt x="55" y="0"/>
                    <a:pt x="27" y="28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5" name="Freeform 3367"/>
            <p:cNvSpPr/>
            <p:nvPr userDrawn="1"/>
          </p:nvSpPr>
          <p:spPr bwMode="auto">
            <a:xfrm>
              <a:off x="8190622" y="2842700"/>
              <a:ext cx="319322" cy="320780"/>
            </a:xfrm>
            <a:custGeom>
              <a:avLst/>
              <a:gdLst>
                <a:gd name="T0" fmla="*/ 28 w 157"/>
                <a:gd name="T1" fmla="*/ 28 h 158"/>
                <a:gd name="T2" fmla="*/ 28 w 157"/>
                <a:gd name="T3" fmla="*/ 130 h 158"/>
                <a:gd name="T4" fmla="*/ 129 w 157"/>
                <a:gd name="T5" fmla="*/ 130 h 158"/>
                <a:gd name="T6" fmla="*/ 129 w 157"/>
                <a:gd name="T7" fmla="*/ 28 h 158"/>
                <a:gd name="T8" fmla="*/ 28 w 157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28" y="28"/>
                  </a:moveTo>
                  <a:cubicBezTo>
                    <a:pt x="0" y="56"/>
                    <a:pt x="0" y="102"/>
                    <a:pt x="28" y="130"/>
                  </a:cubicBezTo>
                  <a:cubicBezTo>
                    <a:pt x="56" y="158"/>
                    <a:pt x="101" y="158"/>
                    <a:pt x="129" y="130"/>
                  </a:cubicBezTo>
                  <a:cubicBezTo>
                    <a:pt x="157" y="102"/>
                    <a:pt x="157" y="56"/>
                    <a:pt x="129" y="28"/>
                  </a:cubicBezTo>
                  <a:cubicBezTo>
                    <a:pt x="101" y="0"/>
                    <a:pt x="56" y="0"/>
                    <a:pt x="28" y="28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6" name="Freeform 3368"/>
            <p:cNvSpPr/>
            <p:nvPr userDrawn="1"/>
          </p:nvSpPr>
          <p:spPr bwMode="auto">
            <a:xfrm>
              <a:off x="8359761" y="2884985"/>
              <a:ext cx="13122" cy="236211"/>
            </a:xfrm>
            <a:custGeom>
              <a:avLst/>
              <a:gdLst>
                <a:gd name="T0" fmla="*/ 0 w 7"/>
                <a:gd name="T1" fmla="*/ 116 h 116"/>
                <a:gd name="T2" fmla="*/ 7 w 7"/>
                <a:gd name="T3" fmla="*/ 115 h 116"/>
                <a:gd name="T4" fmla="*/ 7 w 7"/>
                <a:gd name="T5" fmla="*/ 1 h 116"/>
                <a:gd name="T6" fmla="*/ 0 w 7"/>
                <a:gd name="T7" fmla="*/ 0 h 116"/>
                <a:gd name="T8" fmla="*/ 0 w 7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6">
                  <a:moveTo>
                    <a:pt x="0" y="116"/>
                  </a:moveTo>
                  <a:cubicBezTo>
                    <a:pt x="2" y="116"/>
                    <a:pt x="5" y="115"/>
                    <a:pt x="7" y="115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2" y="0"/>
                    <a:pt x="0" y="0"/>
                  </a:cubicBezTo>
                  <a:lnTo>
                    <a:pt x="0" y="11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7" name="Freeform 3369"/>
            <p:cNvSpPr/>
            <p:nvPr userDrawn="1"/>
          </p:nvSpPr>
          <p:spPr bwMode="auto">
            <a:xfrm>
              <a:off x="8219784" y="2895192"/>
              <a:ext cx="84569" cy="215798"/>
            </a:xfrm>
            <a:custGeom>
              <a:avLst/>
              <a:gdLst>
                <a:gd name="T0" fmla="*/ 23 w 41"/>
                <a:gd name="T1" fmla="*/ 94 h 106"/>
                <a:gd name="T2" fmla="*/ 41 w 41"/>
                <a:gd name="T3" fmla="*/ 106 h 106"/>
                <a:gd name="T4" fmla="*/ 41 w 41"/>
                <a:gd name="T5" fmla="*/ 0 h 106"/>
                <a:gd name="T6" fmla="*/ 23 w 41"/>
                <a:gd name="T7" fmla="*/ 12 h 106"/>
                <a:gd name="T8" fmla="*/ 23 w 41"/>
                <a:gd name="T9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23" y="94"/>
                  </a:moveTo>
                  <a:cubicBezTo>
                    <a:pt x="28" y="99"/>
                    <a:pt x="34" y="103"/>
                    <a:pt x="41" y="10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3"/>
                    <a:pt x="28" y="7"/>
                    <a:pt x="23" y="12"/>
                  </a:cubicBezTo>
                  <a:cubicBezTo>
                    <a:pt x="0" y="35"/>
                    <a:pt x="0" y="71"/>
                    <a:pt x="23" y="94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8" name="Freeform 3370"/>
            <p:cNvSpPr/>
            <p:nvPr userDrawn="1"/>
          </p:nvSpPr>
          <p:spPr bwMode="auto">
            <a:xfrm>
              <a:off x="8397671" y="2895192"/>
              <a:ext cx="83111" cy="215798"/>
            </a:xfrm>
            <a:custGeom>
              <a:avLst/>
              <a:gdLst>
                <a:gd name="T0" fmla="*/ 0 w 41"/>
                <a:gd name="T1" fmla="*/ 106 h 106"/>
                <a:gd name="T2" fmla="*/ 18 w 41"/>
                <a:gd name="T3" fmla="*/ 94 h 106"/>
                <a:gd name="T4" fmla="*/ 18 w 41"/>
                <a:gd name="T5" fmla="*/ 12 h 106"/>
                <a:gd name="T6" fmla="*/ 0 w 41"/>
                <a:gd name="T7" fmla="*/ 0 h 106"/>
                <a:gd name="T8" fmla="*/ 0 w 41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0" y="106"/>
                  </a:moveTo>
                  <a:cubicBezTo>
                    <a:pt x="6" y="104"/>
                    <a:pt x="12" y="100"/>
                    <a:pt x="18" y="94"/>
                  </a:cubicBezTo>
                  <a:cubicBezTo>
                    <a:pt x="41" y="71"/>
                    <a:pt x="41" y="35"/>
                    <a:pt x="18" y="12"/>
                  </a:cubicBezTo>
                  <a:cubicBezTo>
                    <a:pt x="12" y="6"/>
                    <a:pt x="6" y="2"/>
                    <a:pt x="0" y="0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59" name="Freeform 3371"/>
            <p:cNvSpPr/>
            <p:nvPr userDrawn="1"/>
          </p:nvSpPr>
          <p:spPr bwMode="auto">
            <a:xfrm>
              <a:off x="8304354" y="2884985"/>
              <a:ext cx="55407" cy="236211"/>
            </a:xfrm>
            <a:custGeom>
              <a:avLst/>
              <a:gdLst>
                <a:gd name="T0" fmla="*/ 0 w 27"/>
                <a:gd name="T1" fmla="*/ 5 h 116"/>
                <a:gd name="T2" fmla="*/ 0 w 27"/>
                <a:gd name="T3" fmla="*/ 111 h 116"/>
                <a:gd name="T4" fmla="*/ 27 w 27"/>
                <a:gd name="T5" fmla="*/ 116 h 116"/>
                <a:gd name="T6" fmla="*/ 27 w 27"/>
                <a:gd name="T7" fmla="*/ 0 h 116"/>
                <a:gd name="T8" fmla="*/ 0 w 27"/>
                <a:gd name="T9" fmla="*/ 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6">
                  <a:moveTo>
                    <a:pt x="0" y="5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8" y="115"/>
                    <a:pt x="17" y="116"/>
                    <a:pt x="27" y="116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8" y="1"/>
                    <a:pt x="0" y="5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0" name="Freeform 3372"/>
            <p:cNvSpPr/>
            <p:nvPr userDrawn="1"/>
          </p:nvSpPr>
          <p:spPr bwMode="auto">
            <a:xfrm>
              <a:off x="8372884" y="2887901"/>
              <a:ext cx="24787" cy="231837"/>
            </a:xfrm>
            <a:custGeom>
              <a:avLst/>
              <a:gdLst>
                <a:gd name="T0" fmla="*/ 0 w 12"/>
                <a:gd name="T1" fmla="*/ 114 h 114"/>
                <a:gd name="T2" fmla="*/ 12 w 12"/>
                <a:gd name="T3" fmla="*/ 110 h 114"/>
                <a:gd name="T4" fmla="*/ 12 w 12"/>
                <a:gd name="T5" fmla="*/ 4 h 114"/>
                <a:gd name="T6" fmla="*/ 0 w 12"/>
                <a:gd name="T7" fmla="*/ 0 h 114"/>
                <a:gd name="T8" fmla="*/ 0 w 12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4">
                  <a:moveTo>
                    <a:pt x="0" y="114"/>
                  </a:moveTo>
                  <a:cubicBezTo>
                    <a:pt x="4" y="113"/>
                    <a:pt x="8" y="112"/>
                    <a:pt x="12" y="11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4" y="1"/>
                    <a:pt x="0" y="0"/>
                  </a:cubicBezTo>
                  <a:lnTo>
                    <a:pt x="0" y="114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1" name="Freeform 3373"/>
            <p:cNvSpPr/>
            <p:nvPr userDrawn="1"/>
          </p:nvSpPr>
          <p:spPr bwMode="auto">
            <a:xfrm>
              <a:off x="8244572" y="2899565"/>
              <a:ext cx="23329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2" name="Freeform 3374"/>
            <p:cNvSpPr/>
            <p:nvPr userDrawn="1"/>
          </p:nvSpPr>
          <p:spPr bwMode="auto">
            <a:xfrm>
              <a:off x="8247488" y="2899565"/>
              <a:ext cx="21871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3" name="Freeform 3375"/>
            <p:cNvSpPr/>
            <p:nvPr userDrawn="1"/>
          </p:nvSpPr>
          <p:spPr bwMode="auto">
            <a:xfrm>
              <a:off x="8437040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9 w 10"/>
                <a:gd name="T5" fmla="*/ 9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9" y="9"/>
                  </a:cubicBezTo>
                  <a:cubicBezTo>
                    <a:pt x="10" y="7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4" name="Freeform 3376"/>
            <p:cNvSpPr/>
            <p:nvPr userDrawn="1"/>
          </p:nvSpPr>
          <p:spPr bwMode="auto">
            <a:xfrm>
              <a:off x="8438498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5" name="Freeform 3377"/>
            <p:cNvSpPr/>
            <p:nvPr userDrawn="1"/>
          </p:nvSpPr>
          <p:spPr bwMode="auto">
            <a:xfrm>
              <a:off x="8339348" y="2860197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6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6" name="Freeform 3378"/>
            <p:cNvSpPr/>
            <p:nvPr userDrawn="1"/>
          </p:nvSpPr>
          <p:spPr bwMode="auto">
            <a:xfrm>
              <a:off x="8340806" y="2860197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7" name="Freeform 3379"/>
            <p:cNvSpPr/>
            <p:nvPr userDrawn="1"/>
          </p:nvSpPr>
          <p:spPr bwMode="auto">
            <a:xfrm>
              <a:off x="8339348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8" name="Freeform 3380"/>
            <p:cNvSpPr/>
            <p:nvPr userDrawn="1"/>
          </p:nvSpPr>
          <p:spPr bwMode="auto">
            <a:xfrm>
              <a:off x="8340806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69" name="Freeform 3381"/>
            <p:cNvSpPr/>
            <p:nvPr userDrawn="1"/>
          </p:nvSpPr>
          <p:spPr bwMode="auto">
            <a:xfrm>
              <a:off x="8208120" y="2997258"/>
              <a:ext cx="20413" cy="20413"/>
            </a:xfrm>
            <a:custGeom>
              <a:avLst/>
              <a:gdLst>
                <a:gd name="T0" fmla="*/ 1 w 10"/>
                <a:gd name="T1" fmla="*/ 1 h 10"/>
                <a:gd name="T2" fmla="*/ 1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1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" y="1"/>
                  </a:moveTo>
                  <a:cubicBezTo>
                    <a:pt x="0" y="3"/>
                    <a:pt x="0" y="6"/>
                    <a:pt x="1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1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0" name="Freeform 3382"/>
            <p:cNvSpPr/>
            <p:nvPr userDrawn="1"/>
          </p:nvSpPr>
          <p:spPr bwMode="auto">
            <a:xfrm>
              <a:off x="8208120" y="2997258"/>
              <a:ext cx="21871" cy="20413"/>
            </a:xfrm>
            <a:custGeom>
              <a:avLst/>
              <a:gdLst>
                <a:gd name="T0" fmla="*/ 2 w 11"/>
                <a:gd name="T1" fmla="*/ 1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1 h 10"/>
                <a:gd name="T8" fmla="*/ 2 w 11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6"/>
                    <a:pt x="11" y="3"/>
                    <a:pt x="9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1" name="Freeform 3383"/>
            <p:cNvSpPr/>
            <p:nvPr userDrawn="1"/>
          </p:nvSpPr>
          <p:spPr bwMode="auto">
            <a:xfrm>
              <a:off x="8470576" y="2991426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2" name="Freeform 3384"/>
            <p:cNvSpPr/>
            <p:nvPr userDrawn="1"/>
          </p:nvSpPr>
          <p:spPr bwMode="auto">
            <a:xfrm>
              <a:off x="8473492" y="2991426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3" name="Freeform 3385"/>
            <p:cNvSpPr/>
            <p:nvPr userDrawn="1"/>
          </p:nvSpPr>
          <p:spPr bwMode="auto">
            <a:xfrm>
              <a:off x="8248946" y="3090576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4" name="Freeform 3386"/>
            <p:cNvSpPr/>
            <p:nvPr userDrawn="1"/>
          </p:nvSpPr>
          <p:spPr bwMode="auto">
            <a:xfrm>
              <a:off x="8250405" y="3089117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5" name="Freeform 3387"/>
            <p:cNvSpPr/>
            <p:nvPr userDrawn="1"/>
          </p:nvSpPr>
          <p:spPr bwMode="auto">
            <a:xfrm>
              <a:off x="8432666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9 w 10"/>
                <a:gd name="T5" fmla="*/ 8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0" y="6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6" name="Freeform 3388"/>
            <p:cNvSpPr/>
            <p:nvPr userDrawn="1"/>
          </p:nvSpPr>
          <p:spPr bwMode="auto">
            <a:xfrm>
              <a:off x="8434124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7" name="Freeform 3389"/>
            <p:cNvSpPr/>
            <p:nvPr userDrawn="1"/>
          </p:nvSpPr>
          <p:spPr bwMode="auto">
            <a:xfrm>
              <a:off x="7843597" y="2484010"/>
              <a:ext cx="400975" cy="400976"/>
            </a:xfrm>
            <a:custGeom>
              <a:avLst/>
              <a:gdLst>
                <a:gd name="T0" fmla="*/ 35 w 197"/>
                <a:gd name="T1" fmla="*/ 35 h 197"/>
                <a:gd name="T2" fmla="*/ 35 w 197"/>
                <a:gd name="T3" fmla="*/ 162 h 197"/>
                <a:gd name="T4" fmla="*/ 162 w 197"/>
                <a:gd name="T5" fmla="*/ 162 h 197"/>
                <a:gd name="T6" fmla="*/ 162 w 197"/>
                <a:gd name="T7" fmla="*/ 35 h 197"/>
                <a:gd name="T8" fmla="*/ 35 w 197"/>
                <a:gd name="T9" fmla="*/ 3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97">
                  <a:moveTo>
                    <a:pt x="35" y="35"/>
                  </a:moveTo>
                  <a:cubicBezTo>
                    <a:pt x="0" y="70"/>
                    <a:pt x="0" y="127"/>
                    <a:pt x="35" y="162"/>
                  </a:cubicBezTo>
                  <a:cubicBezTo>
                    <a:pt x="70" y="197"/>
                    <a:pt x="127" y="197"/>
                    <a:pt x="162" y="162"/>
                  </a:cubicBezTo>
                  <a:cubicBezTo>
                    <a:pt x="197" y="127"/>
                    <a:pt x="197" y="70"/>
                    <a:pt x="162" y="35"/>
                  </a:cubicBezTo>
                  <a:cubicBezTo>
                    <a:pt x="127" y="0"/>
                    <a:pt x="70" y="0"/>
                    <a:pt x="3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8" name="Freeform 3390"/>
            <p:cNvSpPr/>
            <p:nvPr userDrawn="1"/>
          </p:nvSpPr>
          <p:spPr bwMode="auto">
            <a:xfrm>
              <a:off x="7818810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79" name="Freeform 3391"/>
            <p:cNvSpPr/>
            <p:nvPr userDrawn="1"/>
          </p:nvSpPr>
          <p:spPr bwMode="auto">
            <a:xfrm>
              <a:off x="7796938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0" name="Freeform 3392"/>
            <p:cNvSpPr/>
            <p:nvPr userDrawn="1"/>
          </p:nvSpPr>
          <p:spPr bwMode="auto">
            <a:xfrm>
              <a:off x="8055020" y="2502965"/>
              <a:ext cx="24787" cy="364523"/>
            </a:xfrm>
            <a:custGeom>
              <a:avLst/>
              <a:gdLst>
                <a:gd name="T0" fmla="*/ 0 w 12"/>
                <a:gd name="T1" fmla="*/ 179 h 179"/>
                <a:gd name="T2" fmla="*/ 12 w 12"/>
                <a:gd name="T3" fmla="*/ 178 h 179"/>
                <a:gd name="T4" fmla="*/ 12 w 12"/>
                <a:gd name="T5" fmla="*/ 2 h 179"/>
                <a:gd name="T6" fmla="*/ 0 w 12"/>
                <a:gd name="T7" fmla="*/ 0 h 179"/>
                <a:gd name="T8" fmla="*/ 0 w 12"/>
                <a:gd name="T9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9">
                  <a:moveTo>
                    <a:pt x="0" y="179"/>
                  </a:moveTo>
                  <a:cubicBezTo>
                    <a:pt x="4" y="179"/>
                    <a:pt x="8" y="179"/>
                    <a:pt x="12" y="178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1"/>
                    <a:pt x="4" y="1"/>
                    <a:pt x="0" y="0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1" name="Freeform 3393"/>
            <p:cNvSpPr/>
            <p:nvPr userDrawn="1"/>
          </p:nvSpPr>
          <p:spPr bwMode="auto">
            <a:xfrm>
              <a:off x="7843597" y="2519004"/>
              <a:ext cx="126853" cy="333903"/>
            </a:xfrm>
            <a:custGeom>
              <a:avLst/>
              <a:gdLst>
                <a:gd name="T0" fmla="*/ 35 w 62"/>
                <a:gd name="T1" fmla="*/ 145 h 164"/>
                <a:gd name="T2" fmla="*/ 62 w 62"/>
                <a:gd name="T3" fmla="*/ 164 h 164"/>
                <a:gd name="T4" fmla="*/ 62 w 62"/>
                <a:gd name="T5" fmla="*/ 0 h 164"/>
                <a:gd name="T6" fmla="*/ 35 w 62"/>
                <a:gd name="T7" fmla="*/ 18 h 164"/>
                <a:gd name="T8" fmla="*/ 35 w 62"/>
                <a:gd name="T9" fmla="*/ 14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64">
                  <a:moveTo>
                    <a:pt x="35" y="145"/>
                  </a:moveTo>
                  <a:cubicBezTo>
                    <a:pt x="43" y="153"/>
                    <a:pt x="52" y="160"/>
                    <a:pt x="62" y="164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2" y="4"/>
                    <a:pt x="43" y="10"/>
                    <a:pt x="35" y="18"/>
                  </a:cubicBezTo>
                  <a:cubicBezTo>
                    <a:pt x="0" y="53"/>
                    <a:pt x="0" y="110"/>
                    <a:pt x="35" y="145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2" name="Freeform 3394"/>
            <p:cNvSpPr/>
            <p:nvPr userDrawn="1"/>
          </p:nvSpPr>
          <p:spPr bwMode="auto">
            <a:xfrm>
              <a:off x="8114802" y="2517545"/>
              <a:ext cx="129770" cy="335361"/>
            </a:xfrm>
            <a:custGeom>
              <a:avLst/>
              <a:gdLst>
                <a:gd name="T0" fmla="*/ 0 w 64"/>
                <a:gd name="T1" fmla="*/ 165 h 165"/>
                <a:gd name="T2" fmla="*/ 29 w 64"/>
                <a:gd name="T3" fmla="*/ 146 h 165"/>
                <a:gd name="T4" fmla="*/ 29 w 64"/>
                <a:gd name="T5" fmla="*/ 19 h 165"/>
                <a:gd name="T6" fmla="*/ 0 w 64"/>
                <a:gd name="T7" fmla="*/ 0 h 165"/>
                <a:gd name="T8" fmla="*/ 0 w 64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65">
                  <a:moveTo>
                    <a:pt x="0" y="165"/>
                  </a:moveTo>
                  <a:cubicBezTo>
                    <a:pt x="11" y="161"/>
                    <a:pt x="20" y="155"/>
                    <a:pt x="29" y="146"/>
                  </a:cubicBezTo>
                  <a:cubicBezTo>
                    <a:pt x="64" y="111"/>
                    <a:pt x="64" y="54"/>
                    <a:pt x="29" y="19"/>
                  </a:cubicBezTo>
                  <a:cubicBezTo>
                    <a:pt x="20" y="11"/>
                    <a:pt x="11" y="5"/>
                    <a:pt x="0" y="0"/>
                  </a:cubicBezTo>
                  <a:lnTo>
                    <a:pt x="0" y="165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3" name="Freeform 3395"/>
            <p:cNvSpPr/>
            <p:nvPr userDrawn="1"/>
          </p:nvSpPr>
          <p:spPr bwMode="auto">
            <a:xfrm>
              <a:off x="7970451" y="2502965"/>
              <a:ext cx="84569" cy="365981"/>
            </a:xfrm>
            <a:custGeom>
              <a:avLst/>
              <a:gdLst>
                <a:gd name="T0" fmla="*/ 0 w 42"/>
                <a:gd name="T1" fmla="*/ 8 h 180"/>
                <a:gd name="T2" fmla="*/ 0 w 42"/>
                <a:gd name="T3" fmla="*/ 172 h 180"/>
                <a:gd name="T4" fmla="*/ 42 w 42"/>
                <a:gd name="T5" fmla="*/ 179 h 180"/>
                <a:gd name="T6" fmla="*/ 42 w 42"/>
                <a:gd name="T7" fmla="*/ 0 h 180"/>
                <a:gd name="T8" fmla="*/ 0 w 42"/>
                <a:gd name="T9" fmla="*/ 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0">
                  <a:moveTo>
                    <a:pt x="0" y="8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13" y="178"/>
                    <a:pt x="28" y="180"/>
                    <a:pt x="42" y="17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8" y="0"/>
                    <a:pt x="13" y="2"/>
                    <a:pt x="0" y="8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4" name="Freeform 3396"/>
            <p:cNvSpPr/>
            <p:nvPr userDrawn="1"/>
          </p:nvSpPr>
          <p:spPr bwMode="auto">
            <a:xfrm>
              <a:off x="8079807" y="2507339"/>
              <a:ext cx="34994" cy="357233"/>
            </a:xfrm>
            <a:custGeom>
              <a:avLst/>
              <a:gdLst>
                <a:gd name="T0" fmla="*/ 0 w 17"/>
                <a:gd name="T1" fmla="*/ 176 h 176"/>
                <a:gd name="T2" fmla="*/ 17 w 17"/>
                <a:gd name="T3" fmla="*/ 170 h 176"/>
                <a:gd name="T4" fmla="*/ 17 w 17"/>
                <a:gd name="T5" fmla="*/ 5 h 176"/>
                <a:gd name="T6" fmla="*/ 0 w 17"/>
                <a:gd name="T7" fmla="*/ 0 h 176"/>
                <a:gd name="T8" fmla="*/ 0 w 17"/>
                <a:gd name="T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6">
                  <a:moveTo>
                    <a:pt x="0" y="176"/>
                  </a:moveTo>
                  <a:cubicBezTo>
                    <a:pt x="6" y="175"/>
                    <a:pt x="12" y="173"/>
                    <a:pt x="17" y="17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3"/>
                    <a:pt x="6" y="1"/>
                    <a:pt x="0" y="0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5" name="Freeform 3397"/>
            <p:cNvSpPr/>
            <p:nvPr userDrawn="1"/>
          </p:nvSpPr>
          <p:spPr bwMode="auto">
            <a:xfrm>
              <a:off x="7882966" y="2524836"/>
              <a:ext cx="29162" cy="33537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6" name="Freeform 3398"/>
            <p:cNvSpPr/>
            <p:nvPr userDrawn="1"/>
          </p:nvSpPr>
          <p:spPr bwMode="auto">
            <a:xfrm>
              <a:off x="7884423" y="2524836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7" name="Freeform 3399"/>
            <p:cNvSpPr/>
            <p:nvPr userDrawn="1"/>
          </p:nvSpPr>
          <p:spPr bwMode="auto">
            <a:xfrm>
              <a:off x="8177500" y="2529210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8" name="Freeform 3400"/>
            <p:cNvSpPr/>
            <p:nvPr userDrawn="1"/>
          </p:nvSpPr>
          <p:spPr bwMode="auto">
            <a:xfrm>
              <a:off x="8180416" y="2529210"/>
              <a:ext cx="32078" cy="30620"/>
            </a:xfrm>
            <a:custGeom>
              <a:avLst/>
              <a:gdLst>
                <a:gd name="T0" fmla="*/ 3 w 16"/>
                <a:gd name="T1" fmla="*/ 3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3 h 15"/>
                <a:gd name="T8" fmla="*/ 3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89" name="Freeform 3401"/>
            <p:cNvSpPr/>
            <p:nvPr userDrawn="1"/>
          </p:nvSpPr>
          <p:spPr bwMode="auto">
            <a:xfrm>
              <a:off x="8024400" y="2463597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0" name="Freeform 3402"/>
            <p:cNvSpPr/>
            <p:nvPr userDrawn="1"/>
          </p:nvSpPr>
          <p:spPr bwMode="auto">
            <a:xfrm>
              <a:off x="8027316" y="2463597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1" name="Freeform 3403"/>
            <p:cNvSpPr/>
            <p:nvPr userDrawn="1"/>
          </p:nvSpPr>
          <p:spPr bwMode="auto">
            <a:xfrm>
              <a:off x="8024400" y="2870404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2" name="Freeform 3404"/>
            <p:cNvSpPr/>
            <p:nvPr userDrawn="1"/>
          </p:nvSpPr>
          <p:spPr bwMode="auto">
            <a:xfrm>
              <a:off x="8027316" y="2870404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3" name="Freeform 3405"/>
            <p:cNvSpPr/>
            <p:nvPr userDrawn="1"/>
          </p:nvSpPr>
          <p:spPr bwMode="auto">
            <a:xfrm>
              <a:off x="7821726" y="2676478"/>
              <a:ext cx="32078" cy="29162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4" name="Freeform 3406"/>
            <p:cNvSpPr/>
            <p:nvPr userDrawn="1"/>
          </p:nvSpPr>
          <p:spPr bwMode="auto">
            <a:xfrm>
              <a:off x="7824642" y="2673562"/>
              <a:ext cx="30619" cy="32078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1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1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5" name="Freeform 3407"/>
            <p:cNvSpPr/>
            <p:nvPr userDrawn="1"/>
          </p:nvSpPr>
          <p:spPr bwMode="auto">
            <a:xfrm>
              <a:off x="8229991" y="2667729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6" name="Freeform 3408"/>
            <p:cNvSpPr/>
            <p:nvPr userDrawn="1"/>
          </p:nvSpPr>
          <p:spPr bwMode="auto">
            <a:xfrm>
              <a:off x="8232908" y="2667729"/>
              <a:ext cx="32078" cy="32078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7" name="Freeform 3409"/>
            <p:cNvSpPr/>
            <p:nvPr userDrawn="1"/>
          </p:nvSpPr>
          <p:spPr bwMode="auto">
            <a:xfrm>
              <a:off x="7885882" y="2820829"/>
              <a:ext cx="33536" cy="30620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2 h 15"/>
                <a:gd name="T4" fmla="*/ 13 w 16"/>
                <a:gd name="T5" fmla="*/ 12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2"/>
                  </a:cubicBezTo>
                  <a:cubicBezTo>
                    <a:pt x="6" y="15"/>
                    <a:pt x="10" y="15"/>
                    <a:pt x="13" y="12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8" name="Freeform 3410"/>
            <p:cNvSpPr/>
            <p:nvPr userDrawn="1"/>
          </p:nvSpPr>
          <p:spPr bwMode="auto">
            <a:xfrm>
              <a:off x="7890256" y="2817912"/>
              <a:ext cx="30619" cy="33537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99" name="Freeform 3411"/>
            <p:cNvSpPr/>
            <p:nvPr userDrawn="1"/>
          </p:nvSpPr>
          <p:spPr bwMode="auto">
            <a:xfrm>
              <a:off x="8170209" y="2813539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1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900" name="Freeform 3412"/>
            <p:cNvSpPr/>
            <p:nvPr userDrawn="1"/>
          </p:nvSpPr>
          <p:spPr bwMode="auto">
            <a:xfrm>
              <a:off x="8173125" y="2813539"/>
              <a:ext cx="30619" cy="30620"/>
            </a:xfrm>
            <a:custGeom>
              <a:avLst/>
              <a:gdLst>
                <a:gd name="T0" fmla="*/ 3 w 15"/>
                <a:gd name="T1" fmla="*/ 2 h 15"/>
                <a:gd name="T2" fmla="*/ 3 w 15"/>
                <a:gd name="T3" fmla="*/ 13 h 15"/>
                <a:gd name="T4" fmla="*/ 13 w 15"/>
                <a:gd name="T5" fmla="*/ 13 h 15"/>
                <a:gd name="T6" fmla="*/ 13 w 15"/>
                <a:gd name="T7" fmla="*/ 2 h 15"/>
                <a:gd name="T8" fmla="*/ 3 w 15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5"/>
                    <a:pt x="10" y="15"/>
                    <a:pt x="13" y="13"/>
                  </a:cubicBezTo>
                  <a:cubicBezTo>
                    <a:pt x="15" y="10"/>
                    <a:pt x="15" y="5"/>
                    <a:pt x="13" y="2"/>
                  </a:cubicBezTo>
                  <a:cubicBezTo>
                    <a:pt x="10" y="0"/>
                    <a:pt x="5" y="0"/>
                    <a:pt x="3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>
            <p:ph type="subTitle" idx="1"/>
          </p:nvPr>
        </p:nvSpPr>
        <p:spPr>
          <a:xfrm>
            <a:off x="842471" y="3695683"/>
            <a:ext cx="4919693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842471" y="1972278"/>
            <a:ext cx="4889437" cy="1723406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842471" y="5110511"/>
            <a:ext cx="488943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842471" y="5406782"/>
            <a:ext cx="488943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矩形 5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14" name="组合 513"/>
          <p:cNvGrpSpPr/>
          <p:nvPr userDrawn="1"/>
        </p:nvGrpSpPr>
        <p:grpSpPr>
          <a:xfrm>
            <a:off x="9910343" y="-9385"/>
            <a:ext cx="2281657" cy="2569824"/>
            <a:chOff x="9924008" y="0"/>
            <a:chExt cx="2281657" cy="2569824"/>
          </a:xfrm>
        </p:grpSpPr>
        <p:sp>
          <p:nvSpPr>
            <p:cNvPr id="515" name="任意多边形: 形状 514"/>
            <p:cNvSpPr/>
            <p:nvPr userDrawn="1"/>
          </p:nvSpPr>
          <p:spPr>
            <a:xfrm>
              <a:off x="9924008" y="0"/>
              <a:ext cx="2281657" cy="2569824"/>
            </a:xfrm>
            <a:custGeom>
              <a:avLst/>
              <a:gdLst>
                <a:gd name="connsiteX0" fmla="*/ 211819 w 2281657"/>
                <a:gd name="connsiteY0" fmla="*/ 0 h 2569824"/>
                <a:gd name="connsiteX1" fmla="*/ 2281657 w 2281657"/>
                <a:gd name="connsiteY1" fmla="*/ 0 h 2569824"/>
                <a:gd name="connsiteX2" fmla="*/ 2281657 w 2281657"/>
                <a:gd name="connsiteY2" fmla="*/ 2481872 h 2569824"/>
                <a:gd name="connsiteX3" fmla="*/ 2254841 w 2281657"/>
                <a:gd name="connsiteY3" fmla="*/ 2491687 h 2569824"/>
                <a:gd name="connsiteX4" fmla="*/ 1738010 w 2281657"/>
                <a:gd name="connsiteY4" fmla="*/ 2569824 h 2569824"/>
                <a:gd name="connsiteX5" fmla="*/ 0 w 2281657"/>
                <a:gd name="connsiteY5" fmla="*/ 831814 h 2569824"/>
                <a:gd name="connsiteX6" fmla="*/ 209768 w 2281657"/>
                <a:gd name="connsiteY6" fmla="*/ 3375 h 2569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1657" h="2569824">
                  <a:moveTo>
                    <a:pt x="211819" y="0"/>
                  </a:moveTo>
                  <a:lnTo>
                    <a:pt x="2281657" y="0"/>
                  </a:lnTo>
                  <a:lnTo>
                    <a:pt x="2281657" y="2481872"/>
                  </a:lnTo>
                  <a:lnTo>
                    <a:pt x="2254841" y="2491687"/>
                  </a:lnTo>
                  <a:cubicBezTo>
                    <a:pt x="2091574" y="2542468"/>
                    <a:pt x="1917987" y="2569824"/>
                    <a:pt x="1738010" y="2569824"/>
                  </a:cubicBezTo>
                  <a:cubicBezTo>
                    <a:pt x="778134" y="2569824"/>
                    <a:pt x="0" y="1791690"/>
                    <a:pt x="0" y="831814"/>
                  </a:cubicBezTo>
                  <a:cubicBezTo>
                    <a:pt x="0" y="531853"/>
                    <a:pt x="75990" y="249640"/>
                    <a:pt x="209768" y="33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6" name="任意多边形: 形状 515"/>
            <p:cNvSpPr/>
            <p:nvPr userDrawn="1"/>
          </p:nvSpPr>
          <p:spPr>
            <a:xfrm>
              <a:off x="10026690" y="0"/>
              <a:ext cx="2165310" cy="2469344"/>
            </a:xfrm>
            <a:custGeom>
              <a:avLst/>
              <a:gdLst>
                <a:gd name="connsiteX0" fmla="*/ 230499 w 2165310"/>
                <a:gd name="connsiteY0" fmla="*/ 0 h 2469344"/>
                <a:gd name="connsiteX1" fmla="*/ 2165310 w 2165310"/>
                <a:gd name="connsiteY1" fmla="*/ 0 h 2469344"/>
                <a:gd name="connsiteX2" fmla="*/ 2165310 w 2165310"/>
                <a:gd name="connsiteY2" fmla="*/ 2379833 h 2469344"/>
                <a:gd name="connsiteX3" fmla="*/ 2121623 w 2165310"/>
                <a:gd name="connsiteY3" fmla="*/ 2395823 h 2469344"/>
                <a:gd name="connsiteX4" fmla="*/ 1635327 w 2165310"/>
                <a:gd name="connsiteY4" fmla="*/ 2469344 h 2469344"/>
                <a:gd name="connsiteX5" fmla="*/ 0 w 2165310"/>
                <a:gd name="connsiteY5" fmla="*/ 834017 h 2469344"/>
                <a:gd name="connsiteX6" fmla="*/ 197375 w 2165310"/>
                <a:gd name="connsiteY6" fmla="*/ 54523 h 246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310" h="2469344">
                  <a:moveTo>
                    <a:pt x="230499" y="0"/>
                  </a:moveTo>
                  <a:lnTo>
                    <a:pt x="2165310" y="0"/>
                  </a:lnTo>
                  <a:lnTo>
                    <a:pt x="2165310" y="2379833"/>
                  </a:lnTo>
                  <a:lnTo>
                    <a:pt x="2121623" y="2395823"/>
                  </a:lnTo>
                  <a:cubicBezTo>
                    <a:pt x="1968002" y="2443604"/>
                    <a:pt x="1804671" y="2469344"/>
                    <a:pt x="1635327" y="2469344"/>
                  </a:cubicBezTo>
                  <a:cubicBezTo>
                    <a:pt x="732161" y="2469344"/>
                    <a:pt x="0" y="1737183"/>
                    <a:pt x="0" y="834017"/>
                  </a:cubicBezTo>
                  <a:cubicBezTo>
                    <a:pt x="0" y="551778"/>
                    <a:pt x="71500" y="286238"/>
                    <a:pt x="197375" y="545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17" name="组合 516"/>
          <p:cNvGrpSpPr/>
          <p:nvPr userDrawn="1"/>
        </p:nvGrpSpPr>
        <p:grpSpPr>
          <a:xfrm flipH="1">
            <a:off x="-22196" y="2132422"/>
            <a:ext cx="4729188" cy="4740092"/>
            <a:chOff x="7469645" y="2112196"/>
            <a:chExt cx="4729188" cy="4740092"/>
          </a:xfrm>
        </p:grpSpPr>
        <p:sp>
          <p:nvSpPr>
            <p:cNvPr id="518" name="Oval 3154"/>
            <p:cNvSpPr>
              <a:spLocks noChangeArrowheads="1"/>
            </p:cNvSpPr>
            <p:nvPr userDrawn="1"/>
          </p:nvSpPr>
          <p:spPr bwMode="auto">
            <a:xfrm>
              <a:off x="7469645" y="5041462"/>
              <a:ext cx="521138" cy="521138"/>
            </a:xfrm>
            <a:prstGeom prst="ellipse">
              <a:avLst/>
            </a:prstGeom>
            <a:solidFill>
              <a:srgbClr val="D35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Freeform 3155"/>
            <p:cNvSpPr>
              <a:spLocks noEditPoints="1"/>
            </p:cNvSpPr>
            <p:nvPr userDrawn="1"/>
          </p:nvSpPr>
          <p:spPr bwMode="auto">
            <a:xfrm>
              <a:off x="7793849" y="5237056"/>
              <a:ext cx="184877" cy="207651"/>
            </a:xfrm>
            <a:custGeom>
              <a:avLst/>
              <a:gdLst>
                <a:gd name="T0" fmla="*/ 76 w 101"/>
                <a:gd name="T1" fmla="*/ 95 h 113"/>
                <a:gd name="T2" fmla="*/ 71 w 101"/>
                <a:gd name="T3" fmla="*/ 89 h 113"/>
                <a:gd name="T4" fmla="*/ 67 w 101"/>
                <a:gd name="T5" fmla="*/ 82 h 113"/>
                <a:gd name="T6" fmla="*/ 71 w 101"/>
                <a:gd name="T7" fmla="*/ 88 h 113"/>
                <a:gd name="T8" fmla="*/ 76 w 101"/>
                <a:gd name="T9" fmla="*/ 95 h 113"/>
                <a:gd name="T10" fmla="*/ 36 w 101"/>
                <a:gd name="T11" fmla="*/ 16 h 113"/>
                <a:gd name="T12" fmla="*/ 44 w 101"/>
                <a:gd name="T13" fmla="*/ 13 h 113"/>
                <a:gd name="T14" fmla="*/ 49 w 101"/>
                <a:gd name="T15" fmla="*/ 14 h 113"/>
                <a:gd name="T16" fmla="*/ 56 w 101"/>
                <a:gd name="T17" fmla="*/ 22 h 113"/>
                <a:gd name="T18" fmla="*/ 58 w 101"/>
                <a:gd name="T19" fmla="*/ 26 h 113"/>
                <a:gd name="T20" fmla="*/ 58 w 101"/>
                <a:gd name="T21" fmla="*/ 29 h 113"/>
                <a:gd name="T22" fmla="*/ 58 w 101"/>
                <a:gd name="T23" fmla="*/ 30 h 113"/>
                <a:gd name="T24" fmla="*/ 58 w 101"/>
                <a:gd name="T25" fmla="*/ 35 h 113"/>
                <a:gd name="T26" fmla="*/ 56 w 101"/>
                <a:gd name="T27" fmla="*/ 45 h 113"/>
                <a:gd name="T28" fmla="*/ 49 w 101"/>
                <a:gd name="T29" fmla="*/ 48 h 113"/>
                <a:gd name="T30" fmla="*/ 44 w 101"/>
                <a:gd name="T31" fmla="*/ 46 h 113"/>
                <a:gd name="T32" fmla="*/ 41 w 101"/>
                <a:gd name="T33" fmla="*/ 44 h 113"/>
                <a:gd name="T34" fmla="*/ 41 w 101"/>
                <a:gd name="T35" fmla="*/ 44 h 113"/>
                <a:gd name="T36" fmla="*/ 31 w 101"/>
                <a:gd name="T37" fmla="*/ 49 h 113"/>
                <a:gd name="T38" fmla="*/ 28 w 101"/>
                <a:gd name="T39" fmla="*/ 49 h 113"/>
                <a:gd name="T40" fmla="*/ 20 w 101"/>
                <a:gd name="T41" fmla="*/ 38 h 113"/>
                <a:gd name="T42" fmla="*/ 23 w 101"/>
                <a:gd name="T43" fmla="*/ 29 h 113"/>
                <a:gd name="T44" fmla="*/ 23 w 101"/>
                <a:gd name="T45" fmla="*/ 29 h 113"/>
                <a:gd name="T46" fmla="*/ 26 w 101"/>
                <a:gd name="T47" fmla="*/ 24 h 113"/>
                <a:gd name="T48" fmla="*/ 31 w 101"/>
                <a:gd name="T49" fmla="*/ 18 h 113"/>
                <a:gd name="T50" fmla="*/ 36 w 101"/>
                <a:gd name="T51" fmla="*/ 16 h 113"/>
                <a:gd name="T52" fmla="*/ 46 w 101"/>
                <a:gd name="T53" fmla="*/ 0 h 113"/>
                <a:gd name="T54" fmla="*/ 15 w 101"/>
                <a:gd name="T55" fmla="*/ 16 h 113"/>
                <a:gd name="T56" fmla="*/ 29 w 101"/>
                <a:gd name="T57" fmla="*/ 60 h 113"/>
                <a:gd name="T58" fmla="*/ 47 w 101"/>
                <a:gd name="T59" fmla="*/ 80 h 113"/>
                <a:gd name="T60" fmla="*/ 51 w 101"/>
                <a:gd name="T61" fmla="*/ 91 h 113"/>
                <a:gd name="T62" fmla="*/ 86 w 101"/>
                <a:gd name="T63" fmla="*/ 113 h 113"/>
                <a:gd name="T64" fmla="*/ 88 w 101"/>
                <a:gd name="T65" fmla="*/ 109 h 113"/>
                <a:gd name="T66" fmla="*/ 78 w 101"/>
                <a:gd name="T67" fmla="*/ 96 h 113"/>
                <a:gd name="T68" fmla="*/ 90 w 101"/>
                <a:gd name="T69" fmla="*/ 105 h 113"/>
                <a:gd name="T70" fmla="*/ 101 w 101"/>
                <a:gd name="T71" fmla="*/ 82 h 113"/>
                <a:gd name="T72" fmla="*/ 84 w 101"/>
                <a:gd name="T73" fmla="*/ 62 h 113"/>
                <a:gd name="T74" fmla="*/ 80 w 101"/>
                <a:gd name="T75" fmla="*/ 48 h 113"/>
                <a:gd name="T76" fmla="*/ 67 w 101"/>
                <a:gd name="T77" fmla="*/ 15 h 113"/>
                <a:gd name="T78" fmla="*/ 46 w 101"/>
                <a:gd name="T7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1" h="113">
                  <a:moveTo>
                    <a:pt x="76" y="95"/>
                  </a:moveTo>
                  <a:cubicBezTo>
                    <a:pt x="74" y="93"/>
                    <a:pt x="72" y="91"/>
                    <a:pt x="71" y="89"/>
                  </a:cubicBezTo>
                  <a:cubicBezTo>
                    <a:pt x="68" y="87"/>
                    <a:pt x="67" y="85"/>
                    <a:pt x="67" y="82"/>
                  </a:cubicBezTo>
                  <a:cubicBezTo>
                    <a:pt x="68" y="84"/>
                    <a:pt x="69" y="86"/>
                    <a:pt x="71" y="88"/>
                  </a:cubicBezTo>
                  <a:cubicBezTo>
                    <a:pt x="72" y="90"/>
                    <a:pt x="74" y="93"/>
                    <a:pt x="76" y="95"/>
                  </a:cubicBezTo>
                  <a:moveTo>
                    <a:pt x="36" y="16"/>
                  </a:moveTo>
                  <a:cubicBezTo>
                    <a:pt x="38" y="14"/>
                    <a:pt x="41" y="13"/>
                    <a:pt x="44" y="13"/>
                  </a:cubicBezTo>
                  <a:cubicBezTo>
                    <a:pt x="46" y="13"/>
                    <a:pt x="48" y="13"/>
                    <a:pt x="49" y="14"/>
                  </a:cubicBezTo>
                  <a:cubicBezTo>
                    <a:pt x="52" y="16"/>
                    <a:pt x="55" y="18"/>
                    <a:pt x="56" y="22"/>
                  </a:cubicBezTo>
                  <a:cubicBezTo>
                    <a:pt x="57" y="23"/>
                    <a:pt x="57" y="25"/>
                    <a:pt x="58" y="26"/>
                  </a:cubicBezTo>
                  <a:cubicBezTo>
                    <a:pt x="58" y="27"/>
                    <a:pt x="58" y="28"/>
                    <a:pt x="58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32"/>
                    <a:pt x="59" y="33"/>
                    <a:pt x="58" y="35"/>
                  </a:cubicBezTo>
                  <a:cubicBezTo>
                    <a:pt x="59" y="38"/>
                    <a:pt x="59" y="42"/>
                    <a:pt x="56" y="45"/>
                  </a:cubicBezTo>
                  <a:cubicBezTo>
                    <a:pt x="54" y="47"/>
                    <a:pt x="52" y="48"/>
                    <a:pt x="49" y="48"/>
                  </a:cubicBezTo>
                  <a:cubicBezTo>
                    <a:pt x="47" y="48"/>
                    <a:pt x="46" y="47"/>
                    <a:pt x="44" y="46"/>
                  </a:cubicBezTo>
                  <a:cubicBezTo>
                    <a:pt x="43" y="45"/>
                    <a:pt x="42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39" y="48"/>
                    <a:pt x="35" y="49"/>
                    <a:pt x="31" y="49"/>
                  </a:cubicBezTo>
                  <a:cubicBezTo>
                    <a:pt x="30" y="49"/>
                    <a:pt x="29" y="49"/>
                    <a:pt x="28" y="49"/>
                  </a:cubicBezTo>
                  <a:cubicBezTo>
                    <a:pt x="24" y="48"/>
                    <a:pt x="19" y="43"/>
                    <a:pt x="20" y="38"/>
                  </a:cubicBezTo>
                  <a:cubicBezTo>
                    <a:pt x="21" y="35"/>
                    <a:pt x="21" y="32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7"/>
                    <a:pt x="24" y="25"/>
                    <a:pt x="26" y="24"/>
                  </a:cubicBezTo>
                  <a:cubicBezTo>
                    <a:pt x="27" y="21"/>
                    <a:pt x="29" y="19"/>
                    <a:pt x="31" y="18"/>
                  </a:cubicBezTo>
                  <a:cubicBezTo>
                    <a:pt x="33" y="17"/>
                    <a:pt x="34" y="16"/>
                    <a:pt x="36" y="16"/>
                  </a:cubicBezTo>
                  <a:moveTo>
                    <a:pt x="46" y="0"/>
                  </a:moveTo>
                  <a:cubicBezTo>
                    <a:pt x="35" y="0"/>
                    <a:pt x="23" y="7"/>
                    <a:pt x="15" y="16"/>
                  </a:cubicBezTo>
                  <a:cubicBezTo>
                    <a:pt x="0" y="34"/>
                    <a:pt x="3" y="59"/>
                    <a:pt x="29" y="60"/>
                  </a:cubicBezTo>
                  <a:cubicBezTo>
                    <a:pt x="43" y="61"/>
                    <a:pt x="47" y="67"/>
                    <a:pt x="47" y="80"/>
                  </a:cubicBezTo>
                  <a:cubicBezTo>
                    <a:pt x="47" y="84"/>
                    <a:pt x="49" y="88"/>
                    <a:pt x="51" y="91"/>
                  </a:cubicBezTo>
                  <a:cubicBezTo>
                    <a:pt x="61" y="101"/>
                    <a:pt x="75" y="104"/>
                    <a:pt x="86" y="113"/>
                  </a:cubicBezTo>
                  <a:cubicBezTo>
                    <a:pt x="86" y="112"/>
                    <a:pt x="87" y="110"/>
                    <a:pt x="88" y="109"/>
                  </a:cubicBezTo>
                  <a:cubicBezTo>
                    <a:pt x="85" y="104"/>
                    <a:pt x="81" y="100"/>
                    <a:pt x="78" y="96"/>
                  </a:cubicBezTo>
                  <a:cubicBezTo>
                    <a:pt x="81" y="100"/>
                    <a:pt x="85" y="103"/>
                    <a:pt x="90" y="105"/>
                  </a:cubicBezTo>
                  <a:cubicBezTo>
                    <a:pt x="94" y="97"/>
                    <a:pt x="98" y="90"/>
                    <a:pt x="101" y="82"/>
                  </a:cubicBezTo>
                  <a:cubicBezTo>
                    <a:pt x="93" y="77"/>
                    <a:pt x="88" y="70"/>
                    <a:pt x="84" y="62"/>
                  </a:cubicBezTo>
                  <a:cubicBezTo>
                    <a:pt x="83" y="57"/>
                    <a:pt x="81" y="51"/>
                    <a:pt x="80" y="48"/>
                  </a:cubicBezTo>
                  <a:cubicBezTo>
                    <a:pt x="76" y="36"/>
                    <a:pt x="71" y="26"/>
                    <a:pt x="67" y="15"/>
                  </a:cubicBezTo>
                  <a:cubicBezTo>
                    <a:pt x="62" y="4"/>
                    <a:pt x="54" y="0"/>
                    <a:pt x="4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Freeform 3156"/>
            <p:cNvSpPr/>
            <p:nvPr userDrawn="1"/>
          </p:nvSpPr>
          <p:spPr bwMode="auto">
            <a:xfrm>
              <a:off x="7870211" y="5282606"/>
              <a:ext cx="22775" cy="38851"/>
            </a:xfrm>
            <a:custGeom>
              <a:avLst/>
              <a:gdLst>
                <a:gd name="T0" fmla="*/ 6 w 12"/>
                <a:gd name="T1" fmla="*/ 0 h 21"/>
                <a:gd name="T2" fmla="*/ 6 w 12"/>
                <a:gd name="T3" fmla="*/ 3 h 21"/>
                <a:gd name="T4" fmla="*/ 6 w 12"/>
                <a:gd name="T5" fmla="*/ 2 h 21"/>
                <a:gd name="T6" fmla="*/ 6 w 12"/>
                <a:gd name="T7" fmla="*/ 3 h 21"/>
                <a:gd name="T8" fmla="*/ 3 w 12"/>
                <a:gd name="T9" fmla="*/ 11 h 21"/>
                <a:gd name="T10" fmla="*/ 0 w 12"/>
                <a:gd name="T11" fmla="*/ 17 h 21"/>
                <a:gd name="T12" fmla="*/ 11 w 12"/>
                <a:gd name="T13" fmla="*/ 21 h 21"/>
                <a:gd name="T14" fmla="*/ 10 w 12"/>
                <a:gd name="T15" fmla="*/ 15 h 21"/>
                <a:gd name="T16" fmla="*/ 12 w 12"/>
                <a:gd name="T17" fmla="*/ 11 h 21"/>
                <a:gd name="T18" fmla="*/ 6 w 1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1">
                  <a:moveTo>
                    <a:pt x="6" y="0"/>
                  </a:moveTo>
                  <a:cubicBezTo>
                    <a:pt x="7" y="1"/>
                    <a:pt x="6" y="2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6" y="7"/>
                    <a:pt x="5" y="9"/>
                    <a:pt x="3" y="11"/>
                  </a:cubicBezTo>
                  <a:cubicBezTo>
                    <a:pt x="2" y="13"/>
                    <a:pt x="1" y="15"/>
                    <a:pt x="0" y="17"/>
                  </a:cubicBezTo>
                  <a:cubicBezTo>
                    <a:pt x="4" y="18"/>
                    <a:pt x="8" y="19"/>
                    <a:pt x="11" y="21"/>
                  </a:cubicBezTo>
                  <a:cubicBezTo>
                    <a:pt x="10" y="19"/>
                    <a:pt x="10" y="17"/>
                    <a:pt x="10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0" y="7"/>
                    <a:pt x="8" y="3"/>
                    <a:pt x="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Freeform 3157"/>
            <p:cNvSpPr>
              <a:spLocks noEditPoints="1"/>
            </p:cNvSpPr>
            <p:nvPr userDrawn="1"/>
          </p:nvSpPr>
          <p:spPr bwMode="auto">
            <a:xfrm>
              <a:off x="7835380" y="5261171"/>
              <a:ext cx="65645" cy="64305"/>
            </a:xfrm>
            <a:custGeom>
              <a:avLst/>
              <a:gdLst>
                <a:gd name="T0" fmla="*/ 3 w 36"/>
                <a:gd name="T1" fmla="*/ 11 h 35"/>
                <a:gd name="T2" fmla="*/ 0 w 36"/>
                <a:gd name="T3" fmla="*/ 16 h 35"/>
                <a:gd name="T4" fmla="*/ 2 w 36"/>
                <a:gd name="T5" fmla="*/ 11 h 35"/>
                <a:gd name="T6" fmla="*/ 3 w 36"/>
                <a:gd name="T7" fmla="*/ 11 h 35"/>
                <a:gd name="T8" fmla="*/ 21 w 36"/>
                <a:gd name="T9" fmla="*/ 0 h 35"/>
                <a:gd name="T10" fmla="*/ 13 w 36"/>
                <a:gd name="T11" fmla="*/ 3 h 35"/>
                <a:gd name="T12" fmla="*/ 14 w 36"/>
                <a:gd name="T13" fmla="*/ 3 h 35"/>
                <a:gd name="T14" fmla="*/ 16 w 36"/>
                <a:gd name="T15" fmla="*/ 3 h 35"/>
                <a:gd name="T16" fmla="*/ 23 w 36"/>
                <a:gd name="T17" fmla="*/ 6 h 35"/>
                <a:gd name="T18" fmla="*/ 25 w 36"/>
                <a:gd name="T19" fmla="*/ 12 h 35"/>
                <a:gd name="T20" fmla="*/ 31 w 36"/>
                <a:gd name="T21" fmla="*/ 23 h 35"/>
                <a:gd name="T22" fmla="*/ 29 w 36"/>
                <a:gd name="T23" fmla="*/ 27 h 35"/>
                <a:gd name="T24" fmla="*/ 30 w 36"/>
                <a:gd name="T25" fmla="*/ 33 h 35"/>
                <a:gd name="T26" fmla="*/ 19 w 36"/>
                <a:gd name="T27" fmla="*/ 29 h 35"/>
                <a:gd name="T28" fmla="*/ 18 w 36"/>
                <a:gd name="T29" fmla="*/ 31 h 35"/>
                <a:gd name="T30" fmla="*/ 21 w 36"/>
                <a:gd name="T31" fmla="*/ 33 h 35"/>
                <a:gd name="T32" fmla="*/ 26 w 36"/>
                <a:gd name="T33" fmla="*/ 35 h 35"/>
                <a:gd name="T34" fmla="*/ 33 w 36"/>
                <a:gd name="T35" fmla="*/ 32 h 35"/>
                <a:gd name="T36" fmla="*/ 35 w 36"/>
                <a:gd name="T37" fmla="*/ 22 h 35"/>
                <a:gd name="T38" fmla="*/ 35 w 36"/>
                <a:gd name="T39" fmla="*/ 17 h 35"/>
                <a:gd name="T40" fmla="*/ 35 w 36"/>
                <a:gd name="T41" fmla="*/ 16 h 35"/>
                <a:gd name="T42" fmla="*/ 35 w 36"/>
                <a:gd name="T43" fmla="*/ 13 h 35"/>
                <a:gd name="T44" fmla="*/ 33 w 36"/>
                <a:gd name="T45" fmla="*/ 9 h 35"/>
                <a:gd name="T46" fmla="*/ 26 w 36"/>
                <a:gd name="T47" fmla="*/ 1 h 35"/>
                <a:gd name="T48" fmla="*/ 21 w 36"/>
                <a:gd name="T4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" h="35">
                  <a:moveTo>
                    <a:pt x="3" y="11"/>
                  </a:moveTo>
                  <a:cubicBezTo>
                    <a:pt x="1" y="12"/>
                    <a:pt x="0" y="14"/>
                    <a:pt x="0" y="16"/>
                  </a:cubicBezTo>
                  <a:cubicBezTo>
                    <a:pt x="1" y="14"/>
                    <a:pt x="2" y="13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moveTo>
                    <a:pt x="21" y="0"/>
                  </a:moveTo>
                  <a:cubicBezTo>
                    <a:pt x="18" y="0"/>
                    <a:pt x="15" y="1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9" y="3"/>
                    <a:pt x="21" y="4"/>
                    <a:pt x="23" y="6"/>
                  </a:cubicBezTo>
                  <a:cubicBezTo>
                    <a:pt x="25" y="7"/>
                    <a:pt x="25" y="10"/>
                    <a:pt x="25" y="12"/>
                  </a:cubicBezTo>
                  <a:cubicBezTo>
                    <a:pt x="27" y="15"/>
                    <a:pt x="29" y="19"/>
                    <a:pt x="31" y="23"/>
                  </a:cubicBezTo>
                  <a:cubicBezTo>
                    <a:pt x="30" y="24"/>
                    <a:pt x="29" y="26"/>
                    <a:pt x="29" y="27"/>
                  </a:cubicBezTo>
                  <a:cubicBezTo>
                    <a:pt x="29" y="29"/>
                    <a:pt x="29" y="31"/>
                    <a:pt x="30" y="33"/>
                  </a:cubicBezTo>
                  <a:cubicBezTo>
                    <a:pt x="27" y="31"/>
                    <a:pt x="23" y="30"/>
                    <a:pt x="19" y="29"/>
                  </a:cubicBezTo>
                  <a:cubicBezTo>
                    <a:pt x="19" y="30"/>
                    <a:pt x="18" y="30"/>
                    <a:pt x="18" y="31"/>
                  </a:cubicBezTo>
                  <a:cubicBezTo>
                    <a:pt x="19" y="31"/>
                    <a:pt x="20" y="32"/>
                    <a:pt x="21" y="33"/>
                  </a:cubicBezTo>
                  <a:cubicBezTo>
                    <a:pt x="23" y="34"/>
                    <a:pt x="24" y="35"/>
                    <a:pt x="26" y="35"/>
                  </a:cubicBezTo>
                  <a:cubicBezTo>
                    <a:pt x="29" y="35"/>
                    <a:pt x="31" y="34"/>
                    <a:pt x="33" y="32"/>
                  </a:cubicBezTo>
                  <a:cubicBezTo>
                    <a:pt x="36" y="29"/>
                    <a:pt x="36" y="25"/>
                    <a:pt x="35" y="22"/>
                  </a:cubicBezTo>
                  <a:cubicBezTo>
                    <a:pt x="36" y="20"/>
                    <a:pt x="36" y="19"/>
                    <a:pt x="35" y="17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4" y="12"/>
                    <a:pt x="34" y="10"/>
                    <a:pt x="33" y="9"/>
                  </a:cubicBezTo>
                  <a:cubicBezTo>
                    <a:pt x="32" y="5"/>
                    <a:pt x="29" y="3"/>
                    <a:pt x="26" y="1"/>
                  </a:cubicBezTo>
                  <a:cubicBezTo>
                    <a:pt x="25" y="0"/>
                    <a:pt x="23" y="0"/>
                    <a:pt x="21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Freeform 3158"/>
            <p:cNvSpPr/>
            <p:nvPr userDrawn="1"/>
          </p:nvSpPr>
          <p:spPr bwMode="auto">
            <a:xfrm>
              <a:off x="7840738" y="5266529"/>
              <a:ext cx="18756" cy="14737"/>
            </a:xfrm>
            <a:custGeom>
              <a:avLst/>
              <a:gdLst>
                <a:gd name="T0" fmla="*/ 10 w 10"/>
                <a:gd name="T1" fmla="*/ 0 h 8"/>
                <a:gd name="T2" fmla="*/ 5 w 10"/>
                <a:gd name="T3" fmla="*/ 2 h 8"/>
                <a:gd name="T4" fmla="*/ 0 w 10"/>
                <a:gd name="T5" fmla="*/ 8 h 8"/>
                <a:gd name="T6" fmla="*/ 4 w 10"/>
                <a:gd name="T7" fmla="*/ 6 h 8"/>
                <a:gd name="T8" fmla="*/ 4 w 10"/>
                <a:gd name="T9" fmla="*/ 6 h 8"/>
                <a:gd name="T10" fmla="*/ 5 w 10"/>
                <a:gd name="T11" fmla="*/ 7 h 8"/>
                <a:gd name="T12" fmla="*/ 5 w 10"/>
                <a:gd name="T13" fmla="*/ 7 h 8"/>
                <a:gd name="T14" fmla="*/ 7 w 10"/>
                <a:gd name="T15" fmla="*/ 7 h 8"/>
                <a:gd name="T16" fmla="*/ 8 w 10"/>
                <a:gd name="T17" fmla="*/ 6 h 8"/>
                <a:gd name="T18" fmla="*/ 10 w 10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8" y="0"/>
                    <a:pt x="7" y="1"/>
                    <a:pt x="5" y="2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1" y="7"/>
                    <a:pt x="2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4"/>
                    <a:pt x="9" y="2"/>
                    <a:pt x="1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Freeform 3159"/>
            <p:cNvSpPr/>
            <p:nvPr userDrawn="1"/>
          </p:nvSpPr>
          <p:spPr bwMode="auto">
            <a:xfrm>
              <a:off x="7839399" y="5302701"/>
              <a:ext cx="25454" cy="10717"/>
            </a:xfrm>
            <a:custGeom>
              <a:avLst/>
              <a:gdLst>
                <a:gd name="T0" fmla="*/ 0 w 14"/>
                <a:gd name="T1" fmla="*/ 0 h 6"/>
                <a:gd name="T2" fmla="*/ 14 w 14"/>
                <a:gd name="T3" fmla="*/ 6 h 6"/>
                <a:gd name="T4" fmla="*/ 12 w 14"/>
                <a:gd name="T5" fmla="*/ 5 h 6"/>
                <a:gd name="T6" fmla="*/ 11 w 14"/>
                <a:gd name="T7" fmla="*/ 4 h 6"/>
                <a:gd name="T8" fmla="*/ 10 w 14"/>
                <a:gd name="T9" fmla="*/ 4 h 6"/>
                <a:gd name="T10" fmla="*/ 3 w 14"/>
                <a:gd name="T11" fmla="*/ 2 h 6"/>
                <a:gd name="T12" fmla="*/ 0 w 1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cubicBezTo>
                    <a:pt x="0" y="5"/>
                    <a:pt x="9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8" y="3"/>
                    <a:pt x="5" y="3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Freeform 3160"/>
            <p:cNvSpPr/>
            <p:nvPr userDrawn="1"/>
          </p:nvSpPr>
          <p:spPr bwMode="auto">
            <a:xfrm>
              <a:off x="7828681" y="5290644"/>
              <a:ext cx="40191" cy="36172"/>
            </a:xfrm>
            <a:custGeom>
              <a:avLst/>
              <a:gdLst>
                <a:gd name="T0" fmla="*/ 4 w 22"/>
                <a:gd name="T1" fmla="*/ 0 h 20"/>
                <a:gd name="T2" fmla="*/ 4 w 22"/>
                <a:gd name="T3" fmla="*/ 0 h 20"/>
                <a:gd name="T4" fmla="*/ 1 w 22"/>
                <a:gd name="T5" fmla="*/ 9 h 20"/>
                <a:gd name="T6" fmla="*/ 9 w 22"/>
                <a:gd name="T7" fmla="*/ 20 h 20"/>
                <a:gd name="T8" fmla="*/ 12 w 22"/>
                <a:gd name="T9" fmla="*/ 20 h 20"/>
                <a:gd name="T10" fmla="*/ 22 w 22"/>
                <a:gd name="T11" fmla="*/ 15 h 20"/>
                <a:gd name="T12" fmla="*/ 22 w 22"/>
                <a:gd name="T13" fmla="*/ 15 h 20"/>
                <a:gd name="T14" fmla="*/ 20 w 22"/>
                <a:gd name="T15" fmla="*/ 13 h 20"/>
                <a:gd name="T16" fmla="*/ 6 w 22"/>
                <a:gd name="T17" fmla="*/ 7 h 20"/>
                <a:gd name="T18" fmla="*/ 4 w 22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0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2" y="6"/>
                    <a:pt x="1" y="9"/>
                  </a:cubicBezTo>
                  <a:cubicBezTo>
                    <a:pt x="0" y="14"/>
                    <a:pt x="5" y="19"/>
                    <a:pt x="9" y="20"/>
                  </a:cubicBezTo>
                  <a:cubicBezTo>
                    <a:pt x="10" y="20"/>
                    <a:pt x="11" y="20"/>
                    <a:pt x="12" y="20"/>
                  </a:cubicBezTo>
                  <a:cubicBezTo>
                    <a:pt x="16" y="20"/>
                    <a:pt x="20" y="19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4"/>
                    <a:pt x="21" y="14"/>
                    <a:pt x="20" y="13"/>
                  </a:cubicBezTo>
                  <a:cubicBezTo>
                    <a:pt x="15" y="13"/>
                    <a:pt x="6" y="12"/>
                    <a:pt x="6" y="7"/>
                  </a:cubicBezTo>
                  <a:cubicBezTo>
                    <a:pt x="5" y="5"/>
                    <a:pt x="4" y="2"/>
                    <a:pt x="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Freeform 3161"/>
            <p:cNvSpPr/>
            <p:nvPr userDrawn="1"/>
          </p:nvSpPr>
          <p:spPr bwMode="auto">
            <a:xfrm>
              <a:off x="7839399" y="5271888"/>
              <a:ext cx="44210" cy="41530"/>
            </a:xfrm>
            <a:custGeom>
              <a:avLst/>
              <a:gdLst>
                <a:gd name="T0" fmla="*/ 17 w 24"/>
                <a:gd name="T1" fmla="*/ 0 h 23"/>
                <a:gd name="T2" fmla="*/ 15 w 24"/>
                <a:gd name="T3" fmla="*/ 1 h 23"/>
                <a:gd name="T4" fmla="*/ 2 w 24"/>
                <a:gd name="T5" fmla="*/ 14 h 23"/>
                <a:gd name="T6" fmla="*/ 0 w 24"/>
                <a:gd name="T7" fmla="*/ 17 h 23"/>
                <a:gd name="T8" fmla="*/ 3 w 24"/>
                <a:gd name="T9" fmla="*/ 19 h 23"/>
                <a:gd name="T10" fmla="*/ 10 w 24"/>
                <a:gd name="T11" fmla="*/ 21 h 23"/>
                <a:gd name="T12" fmla="*/ 11 w 24"/>
                <a:gd name="T13" fmla="*/ 21 h 23"/>
                <a:gd name="T14" fmla="*/ 12 w 24"/>
                <a:gd name="T15" fmla="*/ 22 h 23"/>
                <a:gd name="T16" fmla="*/ 14 w 24"/>
                <a:gd name="T17" fmla="*/ 23 h 23"/>
                <a:gd name="T18" fmla="*/ 17 w 24"/>
                <a:gd name="T19" fmla="*/ 23 h 23"/>
                <a:gd name="T20" fmla="*/ 17 w 24"/>
                <a:gd name="T21" fmla="*/ 23 h 23"/>
                <a:gd name="T22" fmla="*/ 20 w 24"/>
                <a:gd name="T23" fmla="*/ 17 h 23"/>
                <a:gd name="T24" fmla="*/ 23 w 24"/>
                <a:gd name="T25" fmla="*/ 9 h 23"/>
                <a:gd name="T26" fmla="*/ 23 w 24"/>
                <a:gd name="T27" fmla="*/ 8 h 23"/>
                <a:gd name="T28" fmla="*/ 23 w 24"/>
                <a:gd name="T29" fmla="*/ 9 h 23"/>
                <a:gd name="T30" fmla="*/ 23 w 24"/>
                <a:gd name="T31" fmla="*/ 6 h 23"/>
                <a:gd name="T32" fmla="*/ 17 w 24"/>
                <a:gd name="T3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3">
                  <a:moveTo>
                    <a:pt x="17" y="0"/>
                  </a:moveTo>
                  <a:cubicBezTo>
                    <a:pt x="16" y="0"/>
                    <a:pt x="16" y="0"/>
                    <a:pt x="15" y="1"/>
                  </a:cubicBezTo>
                  <a:cubicBezTo>
                    <a:pt x="10" y="3"/>
                    <a:pt x="5" y="9"/>
                    <a:pt x="2" y="14"/>
                  </a:cubicBezTo>
                  <a:cubicBezTo>
                    <a:pt x="1" y="15"/>
                    <a:pt x="1" y="16"/>
                    <a:pt x="0" y="17"/>
                  </a:cubicBezTo>
                  <a:cubicBezTo>
                    <a:pt x="1" y="18"/>
                    <a:pt x="2" y="18"/>
                    <a:pt x="3" y="19"/>
                  </a:cubicBezTo>
                  <a:cubicBezTo>
                    <a:pt x="5" y="20"/>
                    <a:pt x="8" y="20"/>
                    <a:pt x="10" y="21"/>
                  </a:cubicBezTo>
                  <a:cubicBezTo>
                    <a:pt x="10" y="21"/>
                    <a:pt x="11" y="21"/>
                    <a:pt x="11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2"/>
                    <a:pt x="13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1"/>
                    <a:pt x="19" y="19"/>
                    <a:pt x="20" y="17"/>
                  </a:cubicBezTo>
                  <a:cubicBezTo>
                    <a:pt x="22" y="15"/>
                    <a:pt x="23" y="13"/>
                    <a:pt x="23" y="9"/>
                  </a:cubicBezTo>
                  <a:cubicBezTo>
                    <a:pt x="23" y="9"/>
                    <a:pt x="24" y="8"/>
                    <a:pt x="23" y="8"/>
                  </a:cubicBezTo>
                  <a:cubicBezTo>
                    <a:pt x="23" y="8"/>
                    <a:pt x="23" y="8"/>
                    <a:pt x="23" y="9"/>
                  </a:cubicBezTo>
                  <a:cubicBezTo>
                    <a:pt x="23" y="8"/>
                    <a:pt x="24" y="7"/>
                    <a:pt x="23" y="6"/>
                  </a:cubicBezTo>
                  <a:cubicBezTo>
                    <a:pt x="21" y="3"/>
                    <a:pt x="19" y="0"/>
                    <a:pt x="17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Freeform 3162"/>
            <p:cNvSpPr>
              <a:spLocks noEditPoints="1"/>
            </p:cNvSpPr>
            <p:nvPr userDrawn="1"/>
          </p:nvSpPr>
          <p:spPr bwMode="auto">
            <a:xfrm>
              <a:off x="7835380" y="5266529"/>
              <a:ext cx="45549" cy="50908"/>
            </a:xfrm>
            <a:custGeom>
              <a:avLst/>
              <a:gdLst>
                <a:gd name="T0" fmla="*/ 16 w 25"/>
                <a:gd name="T1" fmla="*/ 26 h 28"/>
                <a:gd name="T2" fmla="*/ 18 w 25"/>
                <a:gd name="T3" fmla="*/ 28 h 28"/>
                <a:gd name="T4" fmla="*/ 19 w 25"/>
                <a:gd name="T5" fmla="*/ 26 h 28"/>
                <a:gd name="T6" fmla="*/ 19 w 25"/>
                <a:gd name="T7" fmla="*/ 26 h 28"/>
                <a:gd name="T8" fmla="*/ 16 w 25"/>
                <a:gd name="T9" fmla="*/ 26 h 28"/>
                <a:gd name="T10" fmla="*/ 16 w 25"/>
                <a:gd name="T11" fmla="*/ 0 h 28"/>
                <a:gd name="T12" fmla="*/ 14 w 25"/>
                <a:gd name="T13" fmla="*/ 0 h 28"/>
                <a:gd name="T14" fmla="*/ 13 w 25"/>
                <a:gd name="T15" fmla="*/ 0 h 28"/>
                <a:gd name="T16" fmla="*/ 11 w 25"/>
                <a:gd name="T17" fmla="*/ 6 h 28"/>
                <a:gd name="T18" fmla="*/ 10 w 25"/>
                <a:gd name="T19" fmla="*/ 7 h 28"/>
                <a:gd name="T20" fmla="*/ 8 w 25"/>
                <a:gd name="T21" fmla="*/ 7 h 28"/>
                <a:gd name="T22" fmla="*/ 8 w 25"/>
                <a:gd name="T23" fmla="*/ 7 h 28"/>
                <a:gd name="T24" fmla="*/ 7 w 25"/>
                <a:gd name="T25" fmla="*/ 6 h 28"/>
                <a:gd name="T26" fmla="*/ 7 w 25"/>
                <a:gd name="T27" fmla="*/ 6 h 28"/>
                <a:gd name="T28" fmla="*/ 3 w 25"/>
                <a:gd name="T29" fmla="*/ 8 h 28"/>
                <a:gd name="T30" fmla="*/ 2 w 25"/>
                <a:gd name="T31" fmla="*/ 8 h 28"/>
                <a:gd name="T32" fmla="*/ 0 w 25"/>
                <a:gd name="T33" fmla="*/ 13 h 28"/>
                <a:gd name="T34" fmla="*/ 2 w 25"/>
                <a:gd name="T35" fmla="*/ 20 h 28"/>
                <a:gd name="T36" fmla="*/ 4 w 25"/>
                <a:gd name="T37" fmla="*/ 17 h 28"/>
                <a:gd name="T38" fmla="*/ 17 w 25"/>
                <a:gd name="T39" fmla="*/ 4 h 28"/>
                <a:gd name="T40" fmla="*/ 19 w 25"/>
                <a:gd name="T41" fmla="*/ 3 h 28"/>
                <a:gd name="T42" fmla="*/ 25 w 25"/>
                <a:gd name="T43" fmla="*/ 9 h 28"/>
                <a:gd name="T44" fmla="*/ 23 w 25"/>
                <a:gd name="T45" fmla="*/ 3 h 28"/>
                <a:gd name="T46" fmla="*/ 16 w 25"/>
                <a:gd name="T4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8">
                  <a:moveTo>
                    <a:pt x="16" y="26"/>
                  </a:moveTo>
                  <a:cubicBezTo>
                    <a:pt x="17" y="27"/>
                    <a:pt x="17" y="27"/>
                    <a:pt x="18" y="28"/>
                  </a:cubicBezTo>
                  <a:cubicBezTo>
                    <a:pt x="18" y="27"/>
                    <a:pt x="19" y="27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6"/>
                    <a:pt x="17" y="26"/>
                    <a:pt x="16" y="26"/>
                  </a:cubicBezTo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2"/>
                    <a:pt x="11" y="4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10"/>
                    <a:pt x="1" y="11"/>
                    <a:pt x="0" y="13"/>
                  </a:cubicBezTo>
                  <a:cubicBezTo>
                    <a:pt x="0" y="15"/>
                    <a:pt x="1" y="18"/>
                    <a:pt x="2" y="20"/>
                  </a:cubicBezTo>
                  <a:cubicBezTo>
                    <a:pt x="3" y="19"/>
                    <a:pt x="3" y="18"/>
                    <a:pt x="4" y="17"/>
                  </a:cubicBezTo>
                  <a:cubicBezTo>
                    <a:pt x="7" y="12"/>
                    <a:pt x="12" y="6"/>
                    <a:pt x="17" y="4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21" y="3"/>
                    <a:pt x="23" y="6"/>
                    <a:pt x="25" y="9"/>
                  </a:cubicBezTo>
                  <a:cubicBezTo>
                    <a:pt x="25" y="7"/>
                    <a:pt x="25" y="4"/>
                    <a:pt x="23" y="3"/>
                  </a:cubicBezTo>
                  <a:cubicBezTo>
                    <a:pt x="21" y="1"/>
                    <a:pt x="19" y="0"/>
                    <a:pt x="16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Freeform 3163"/>
            <p:cNvSpPr/>
            <p:nvPr userDrawn="1"/>
          </p:nvSpPr>
          <p:spPr bwMode="auto">
            <a:xfrm>
              <a:off x="7521893" y="5092370"/>
              <a:ext cx="301429" cy="144686"/>
            </a:xfrm>
            <a:custGeom>
              <a:avLst/>
              <a:gdLst>
                <a:gd name="T0" fmla="*/ 28 w 164"/>
                <a:gd name="T1" fmla="*/ 0 h 79"/>
                <a:gd name="T2" fmla="*/ 19 w 164"/>
                <a:gd name="T3" fmla="*/ 7 h 79"/>
                <a:gd name="T4" fmla="*/ 45 w 164"/>
                <a:gd name="T5" fmla="*/ 28 h 79"/>
                <a:gd name="T6" fmla="*/ 51 w 164"/>
                <a:gd name="T7" fmla="*/ 31 h 79"/>
                <a:gd name="T8" fmla="*/ 68 w 164"/>
                <a:gd name="T9" fmla="*/ 38 h 79"/>
                <a:gd name="T10" fmla="*/ 70 w 164"/>
                <a:gd name="T11" fmla="*/ 39 h 79"/>
                <a:gd name="T12" fmla="*/ 72 w 164"/>
                <a:gd name="T13" fmla="*/ 40 h 79"/>
                <a:gd name="T14" fmla="*/ 75 w 164"/>
                <a:gd name="T15" fmla="*/ 41 h 79"/>
                <a:gd name="T16" fmla="*/ 73 w 164"/>
                <a:gd name="T17" fmla="*/ 54 h 79"/>
                <a:gd name="T18" fmla="*/ 73 w 164"/>
                <a:gd name="T19" fmla="*/ 54 h 79"/>
                <a:gd name="T20" fmla="*/ 47 w 164"/>
                <a:gd name="T21" fmla="*/ 49 h 79"/>
                <a:gd name="T22" fmla="*/ 26 w 164"/>
                <a:gd name="T23" fmla="*/ 37 h 79"/>
                <a:gd name="T24" fmla="*/ 5 w 164"/>
                <a:gd name="T25" fmla="*/ 22 h 79"/>
                <a:gd name="T26" fmla="*/ 0 w 164"/>
                <a:gd name="T27" fmla="*/ 28 h 79"/>
                <a:gd name="T28" fmla="*/ 23 w 164"/>
                <a:gd name="T29" fmla="*/ 45 h 79"/>
                <a:gd name="T30" fmla="*/ 61 w 164"/>
                <a:gd name="T31" fmla="*/ 76 h 79"/>
                <a:gd name="T32" fmla="*/ 70 w 164"/>
                <a:gd name="T33" fmla="*/ 78 h 79"/>
                <a:gd name="T34" fmla="*/ 88 w 164"/>
                <a:gd name="T35" fmla="*/ 74 h 79"/>
                <a:gd name="T36" fmla="*/ 106 w 164"/>
                <a:gd name="T37" fmla="*/ 69 h 79"/>
                <a:gd name="T38" fmla="*/ 116 w 164"/>
                <a:gd name="T39" fmla="*/ 71 h 79"/>
                <a:gd name="T40" fmla="*/ 145 w 164"/>
                <a:gd name="T41" fmla="*/ 79 h 79"/>
                <a:gd name="T42" fmla="*/ 153 w 164"/>
                <a:gd name="T43" fmla="*/ 79 h 79"/>
                <a:gd name="T44" fmla="*/ 161 w 164"/>
                <a:gd name="T45" fmla="*/ 63 h 79"/>
                <a:gd name="T46" fmla="*/ 101 w 164"/>
                <a:gd name="T47" fmla="*/ 38 h 79"/>
                <a:gd name="T48" fmla="*/ 28 w 164"/>
                <a:gd name="T4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4" h="79">
                  <a:moveTo>
                    <a:pt x="28" y="0"/>
                  </a:moveTo>
                  <a:cubicBezTo>
                    <a:pt x="25" y="3"/>
                    <a:pt x="22" y="5"/>
                    <a:pt x="19" y="7"/>
                  </a:cubicBezTo>
                  <a:cubicBezTo>
                    <a:pt x="28" y="14"/>
                    <a:pt x="36" y="22"/>
                    <a:pt x="45" y="28"/>
                  </a:cubicBezTo>
                  <a:cubicBezTo>
                    <a:pt x="47" y="29"/>
                    <a:pt x="49" y="30"/>
                    <a:pt x="51" y="31"/>
                  </a:cubicBezTo>
                  <a:cubicBezTo>
                    <a:pt x="57" y="34"/>
                    <a:pt x="62" y="36"/>
                    <a:pt x="68" y="38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71" y="39"/>
                    <a:pt x="72" y="39"/>
                    <a:pt x="72" y="40"/>
                  </a:cubicBezTo>
                  <a:cubicBezTo>
                    <a:pt x="73" y="40"/>
                    <a:pt x="74" y="40"/>
                    <a:pt x="75" y="41"/>
                  </a:cubicBezTo>
                  <a:cubicBezTo>
                    <a:pt x="81" y="43"/>
                    <a:pt x="80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64" y="53"/>
                    <a:pt x="55" y="51"/>
                    <a:pt x="47" y="49"/>
                  </a:cubicBezTo>
                  <a:cubicBezTo>
                    <a:pt x="39" y="46"/>
                    <a:pt x="30" y="44"/>
                    <a:pt x="26" y="37"/>
                  </a:cubicBezTo>
                  <a:cubicBezTo>
                    <a:pt x="18" y="33"/>
                    <a:pt x="11" y="28"/>
                    <a:pt x="5" y="22"/>
                  </a:cubicBezTo>
                  <a:cubicBezTo>
                    <a:pt x="3" y="24"/>
                    <a:pt x="1" y="26"/>
                    <a:pt x="0" y="28"/>
                  </a:cubicBezTo>
                  <a:cubicBezTo>
                    <a:pt x="8" y="32"/>
                    <a:pt x="17" y="37"/>
                    <a:pt x="23" y="45"/>
                  </a:cubicBezTo>
                  <a:cubicBezTo>
                    <a:pt x="34" y="59"/>
                    <a:pt x="45" y="70"/>
                    <a:pt x="61" y="76"/>
                  </a:cubicBezTo>
                  <a:cubicBezTo>
                    <a:pt x="64" y="78"/>
                    <a:pt x="67" y="78"/>
                    <a:pt x="70" y="78"/>
                  </a:cubicBezTo>
                  <a:cubicBezTo>
                    <a:pt x="76" y="78"/>
                    <a:pt x="82" y="76"/>
                    <a:pt x="88" y="74"/>
                  </a:cubicBezTo>
                  <a:cubicBezTo>
                    <a:pt x="94" y="71"/>
                    <a:pt x="100" y="69"/>
                    <a:pt x="106" y="69"/>
                  </a:cubicBezTo>
                  <a:cubicBezTo>
                    <a:pt x="110" y="69"/>
                    <a:pt x="113" y="70"/>
                    <a:pt x="116" y="71"/>
                  </a:cubicBezTo>
                  <a:cubicBezTo>
                    <a:pt x="127" y="76"/>
                    <a:pt x="135" y="79"/>
                    <a:pt x="145" y="79"/>
                  </a:cubicBezTo>
                  <a:cubicBezTo>
                    <a:pt x="148" y="79"/>
                    <a:pt x="150" y="79"/>
                    <a:pt x="153" y="79"/>
                  </a:cubicBezTo>
                  <a:cubicBezTo>
                    <a:pt x="161" y="78"/>
                    <a:pt x="164" y="69"/>
                    <a:pt x="161" y="63"/>
                  </a:cubicBezTo>
                  <a:cubicBezTo>
                    <a:pt x="148" y="35"/>
                    <a:pt x="127" y="39"/>
                    <a:pt x="101" y="38"/>
                  </a:cubicBezTo>
                  <a:cubicBezTo>
                    <a:pt x="74" y="36"/>
                    <a:pt x="52" y="16"/>
                    <a:pt x="2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Freeform 3164"/>
            <p:cNvSpPr>
              <a:spLocks noEditPoints="1"/>
            </p:cNvSpPr>
            <p:nvPr userDrawn="1"/>
          </p:nvSpPr>
          <p:spPr bwMode="auto">
            <a:xfrm>
              <a:off x="7531271" y="5105767"/>
              <a:ext cx="123251" cy="60286"/>
            </a:xfrm>
            <a:custGeom>
              <a:avLst/>
              <a:gdLst>
                <a:gd name="T0" fmla="*/ 63 w 67"/>
                <a:gd name="T1" fmla="*/ 31 h 33"/>
                <a:gd name="T2" fmla="*/ 67 w 67"/>
                <a:gd name="T3" fmla="*/ 33 h 33"/>
                <a:gd name="T4" fmla="*/ 65 w 67"/>
                <a:gd name="T5" fmla="*/ 32 h 33"/>
                <a:gd name="T6" fmla="*/ 63 w 67"/>
                <a:gd name="T7" fmla="*/ 31 h 33"/>
                <a:gd name="T8" fmla="*/ 14 w 67"/>
                <a:gd name="T9" fmla="*/ 0 h 33"/>
                <a:gd name="T10" fmla="*/ 0 w 67"/>
                <a:gd name="T11" fmla="*/ 15 h 33"/>
                <a:gd name="T12" fmla="*/ 21 w 67"/>
                <a:gd name="T13" fmla="*/ 30 h 33"/>
                <a:gd name="T14" fmla="*/ 19 w 67"/>
                <a:gd name="T15" fmla="*/ 26 h 33"/>
                <a:gd name="T16" fmla="*/ 25 w 67"/>
                <a:gd name="T17" fmla="*/ 17 h 33"/>
                <a:gd name="T18" fmla="*/ 28 w 67"/>
                <a:gd name="T19" fmla="*/ 17 h 33"/>
                <a:gd name="T20" fmla="*/ 40 w 67"/>
                <a:gd name="T21" fmla="*/ 21 h 33"/>
                <a:gd name="T22" fmla="*/ 14 w 67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3">
                  <a:moveTo>
                    <a:pt x="63" y="31"/>
                  </a:moveTo>
                  <a:cubicBezTo>
                    <a:pt x="64" y="32"/>
                    <a:pt x="66" y="32"/>
                    <a:pt x="67" y="33"/>
                  </a:cubicBezTo>
                  <a:cubicBezTo>
                    <a:pt x="67" y="32"/>
                    <a:pt x="66" y="32"/>
                    <a:pt x="65" y="32"/>
                  </a:cubicBezTo>
                  <a:cubicBezTo>
                    <a:pt x="64" y="32"/>
                    <a:pt x="64" y="32"/>
                    <a:pt x="63" y="31"/>
                  </a:cubicBezTo>
                  <a:moveTo>
                    <a:pt x="14" y="0"/>
                  </a:moveTo>
                  <a:cubicBezTo>
                    <a:pt x="9" y="5"/>
                    <a:pt x="4" y="10"/>
                    <a:pt x="0" y="15"/>
                  </a:cubicBezTo>
                  <a:cubicBezTo>
                    <a:pt x="6" y="21"/>
                    <a:pt x="13" y="26"/>
                    <a:pt x="21" y="30"/>
                  </a:cubicBezTo>
                  <a:cubicBezTo>
                    <a:pt x="20" y="29"/>
                    <a:pt x="19" y="28"/>
                    <a:pt x="19" y="26"/>
                  </a:cubicBezTo>
                  <a:cubicBezTo>
                    <a:pt x="17" y="22"/>
                    <a:pt x="21" y="18"/>
                    <a:pt x="25" y="17"/>
                  </a:cubicBezTo>
                  <a:cubicBezTo>
                    <a:pt x="26" y="17"/>
                    <a:pt x="27" y="17"/>
                    <a:pt x="28" y="17"/>
                  </a:cubicBezTo>
                  <a:cubicBezTo>
                    <a:pt x="32" y="17"/>
                    <a:pt x="36" y="19"/>
                    <a:pt x="40" y="21"/>
                  </a:cubicBezTo>
                  <a:cubicBezTo>
                    <a:pt x="31" y="15"/>
                    <a:pt x="23" y="7"/>
                    <a:pt x="1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Freeform 3165"/>
            <p:cNvSpPr/>
            <p:nvPr userDrawn="1"/>
          </p:nvSpPr>
          <p:spPr bwMode="auto">
            <a:xfrm>
              <a:off x="7724186" y="5045481"/>
              <a:ext cx="140667" cy="92438"/>
            </a:xfrm>
            <a:custGeom>
              <a:avLst/>
              <a:gdLst>
                <a:gd name="T0" fmla="*/ 14 w 77"/>
                <a:gd name="T1" fmla="*/ 0 h 51"/>
                <a:gd name="T2" fmla="*/ 9 w 77"/>
                <a:gd name="T3" fmla="*/ 17 h 51"/>
                <a:gd name="T4" fmla="*/ 10 w 77"/>
                <a:gd name="T5" fmla="*/ 31 h 51"/>
                <a:gd name="T6" fmla="*/ 55 w 77"/>
                <a:gd name="T7" fmla="*/ 50 h 51"/>
                <a:gd name="T8" fmla="*/ 60 w 77"/>
                <a:gd name="T9" fmla="*/ 49 h 51"/>
                <a:gd name="T10" fmla="*/ 64 w 77"/>
                <a:gd name="T11" fmla="*/ 50 h 51"/>
                <a:gd name="T12" fmla="*/ 67 w 77"/>
                <a:gd name="T13" fmla="*/ 51 h 51"/>
                <a:gd name="T14" fmla="*/ 74 w 77"/>
                <a:gd name="T15" fmla="*/ 38 h 51"/>
                <a:gd name="T16" fmla="*/ 19 w 77"/>
                <a:gd name="T17" fmla="*/ 1 h 51"/>
                <a:gd name="T18" fmla="*/ 14 w 77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51">
                  <a:moveTo>
                    <a:pt x="14" y="0"/>
                  </a:moveTo>
                  <a:cubicBezTo>
                    <a:pt x="6" y="0"/>
                    <a:pt x="0" y="11"/>
                    <a:pt x="9" y="17"/>
                  </a:cubicBezTo>
                  <a:cubicBezTo>
                    <a:pt x="5" y="21"/>
                    <a:pt x="6" y="28"/>
                    <a:pt x="10" y="31"/>
                  </a:cubicBezTo>
                  <a:cubicBezTo>
                    <a:pt x="18" y="34"/>
                    <a:pt x="41" y="50"/>
                    <a:pt x="55" y="50"/>
                  </a:cubicBezTo>
                  <a:cubicBezTo>
                    <a:pt x="57" y="50"/>
                    <a:pt x="59" y="49"/>
                    <a:pt x="60" y="49"/>
                  </a:cubicBezTo>
                  <a:cubicBezTo>
                    <a:pt x="62" y="49"/>
                    <a:pt x="63" y="50"/>
                    <a:pt x="64" y="50"/>
                  </a:cubicBezTo>
                  <a:cubicBezTo>
                    <a:pt x="65" y="50"/>
                    <a:pt x="66" y="51"/>
                    <a:pt x="67" y="51"/>
                  </a:cubicBezTo>
                  <a:cubicBezTo>
                    <a:pt x="73" y="51"/>
                    <a:pt x="77" y="44"/>
                    <a:pt x="74" y="38"/>
                  </a:cubicBezTo>
                  <a:cubicBezTo>
                    <a:pt x="65" y="18"/>
                    <a:pt x="37" y="10"/>
                    <a:pt x="19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Freeform 3166"/>
            <p:cNvSpPr/>
            <p:nvPr userDrawn="1"/>
          </p:nvSpPr>
          <p:spPr bwMode="auto">
            <a:xfrm>
              <a:off x="7604954" y="5143278"/>
              <a:ext cx="41530" cy="18756"/>
            </a:xfrm>
            <a:custGeom>
              <a:avLst/>
              <a:gdLst>
                <a:gd name="T0" fmla="*/ 0 w 23"/>
                <a:gd name="T1" fmla="*/ 0 h 10"/>
                <a:gd name="T2" fmla="*/ 23 w 23"/>
                <a:gd name="T3" fmla="*/ 10 h 10"/>
                <a:gd name="T4" fmla="*/ 6 w 23"/>
                <a:gd name="T5" fmla="*/ 3 h 10"/>
                <a:gd name="T6" fmla="*/ 0 w 2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0">
                  <a:moveTo>
                    <a:pt x="0" y="0"/>
                  </a:moveTo>
                  <a:cubicBezTo>
                    <a:pt x="7" y="5"/>
                    <a:pt x="14" y="9"/>
                    <a:pt x="23" y="10"/>
                  </a:cubicBezTo>
                  <a:cubicBezTo>
                    <a:pt x="17" y="8"/>
                    <a:pt x="12" y="6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Freeform 3167"/>
            <p:cNvSpPr/>
            <p:nvPr userDrawn="1"/>
          </p:nvSpPr>
          <p:spPr bwMode="auto">
            <a:xfrm>
              <a:off x="7621030" y="5176770"/>
              <a:ext cx="40191" cy="13397"/>
            </a:xfrm>
            <a:custGeom>
              <a:avLst/>
              <a:gdLst>
                <a:gd name="T0" fmla="*/ 0 w 22"/>
                <a:gd name="T1" fmla="*/ 0 h 7"/>
                <a:gd name="T2" fmla="*/ 17 w 22"/>
                <a:gd name="T3" fmla="*/ 7 h 7"/>
                <a:gd name="T4" fmla="*/ 22 w 22"/>
                <a:gd name="T5" fmla="*/ 6 h 7"/>
                <a:gd name="T6" fmla="*/ 15 w 22"/>
                <a:gd name="T7" fmla="*/ 3 h 7"/>
                <a:gd name="T8" fmla="*/ 10 w 22"/>
                <a:gd name="T9" fmla="*/ 0 h 7"/>
                <a:gd name="T10" fmla="*/ 5 w 22"/>
                <a:gd name="T11" fmla="*/ 0 h 7"/>
                <a:gd name="T12" fmla="*/ 0 w 2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0"/>
                  </a:moveTo>
                  <a:cubicBezTo>
                    <a:pt x="6" y="5"/>
                    <a:pt x="12" y="7"/>
                    <a:pt x="17" y="7"/>
                  </a:cubicBezTo>
                  <a:cubicBezTo>
                    <a:pt x="19" y="7"/>
                    <a:pt x="20" y="7"/>
                    <a:pt x="22" y="6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3" y="2"/>
                    <a:pt x="11" y="1"/>
                    <a:pt x="10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Freeform 3168"/>
            <p:cNvSpPr/>
            <p:nvPr userDrawn="1"/>
          </p:nvSpPr>
          <p:spPr bwMode="auto">
            <a:xfrm>
              <a:off x="7570122" y="5160694"/>
              <a:ext cx="100476" cy="30813"/>
            </a:xfrm>
            <a:custGeom>
              <a:avLst/>
              <a:gdLst>
                <a:gd name="T0" fmla="*/ 0 w 55"/>
                <a:gd name="T1" fmla="*/ 0 h 17"/>
                <a:gd name="T2" fmla="*/ 21 w 55"/>
                <a:gd name="T3" fmla="*/ 12 h 17"/>
                <a:gd name="T4" fmla="*/ 47 w 55"/>
                <a:gd name="T5" fmla="*/ 17 h 17"/>
                <a:gd name="T6" fmla="*/ 47 w 55"/>
                <a:gd name="T7" fmla="*/ 17 h 17"/>
                <a:gd name="T8" fmla="*/ 49 w 55"/>
                <a:gd name="T9" fmla="*/ 4 h 17"/>
                <a:gd name="T10" fmla="*/ 46 w 55"/>
                <a:gd name="T11" fmla="*/ 3 h 17"/>
                <a:gd name="T12" fmla="*/ 45 w 55"/>
                <a:gd name="T13" fmla="*/ 8 h 17"/>
                <a:gd name="T14" fmla="*/ 38 w 55"/>
                <a:gd name="T15" fmla="*/ 9 h 17"/>
                <a:gd name="T16" fmla="*/ 43 w 55"/>
                <a:gd name="T17" fmla="*/ 12 h 17"/>
                <a:gd name="T18" fmla="*/ 50 w 55"/>
                <a:gd name="T19" fmla="*/ 15 h 17"/>
                <a:gd name="T20" fmla="*/ 45 w 55"/>
                <a:gd name="T21" fmla="*/ 16 h 17"/>
                <a:gd name="T22" fmla="*/ 28 w 55"/>
                <a:gd name="T23" fmla="*/ 9 h 17"/>
                <a:gd name="T24" fmla="*/ 0 w 55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17">
                  <a:moveTo>
                    <a:pt x="0" y="0"/>
                  </a:moveTo>
                  <a:cubicBezTo>
                    <a:pt x="4" y="7"/>
                    <a:pt x="13" y="9"/>
                    <a:pt x="21" y="12"/>
                  </a:cubicBezTo>
                  <a:cubicBezTo>
                    <a:pt x="29" y="14"/>
                    <a:pt x="38" y="16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54" y="17"/>
                    <a:pt x="55" y="6"/>
                    <a:pt x="49" y="4"/>
                  </a:cubicBezTo>
                  <a:cubicBezTo>
                    <a:pt x="48" y="3"/>
                    <a:pt x="47" y="3"/>
                    <a:pt x="46" y="3"/>
                  </a:cubicBezTo>
                  <a:cubicBezTo>
                    <a:pt x="48" y="4"/>
                    <a:pt x="47" y="7"/>
                    <a:pt x="45" y="8"/>
                  </a:cubicBezTo>
                  <a:cubicBezTo>
                    <a:pt x="43" y="8"/>
                    <a:pt x="40" y="9"/>
                    <a:pt x="38" y="9"/>
                  </a:cubicBezTo>
                  <a:cubicBezTo>
                    <a:pt x="39" y="10"/>
                    <a:pt x="41" y="11"/>
                    <a:pt x="43" y="12"/>
                  </a:cubicBezTo>
                  <a:cubicBezTo>
                    <a:pt x="45" y="13"/>
                    <a:pt x="47" y="14"/>
                    <a:pt x="50" y="15"/>
                  </a:cubicBezTo>
                  <a:cubicBezTo>
                    <a:pt x="48" y="16"/>
                    <a:pt x="47" y="16"/>
                    <a:pt x="45" y="16"/>
                  </a:cubicBezTo>
                  <a:cubicBezTo>
                    <a:pt x="40" y="16"/>
                    <a:pt x="34" y="14"/>
                    <a:pt x="28" y="9"/>
                  </a:cubicBezTo>
                  <a:cubicBezTo>
                    <a:pt x="18" y="8"/>
                    <a:pt x="9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Freeform 3169"/>
            <p:cNvSpPr/>
            <p:nvPr userDrawn="1"/>
          </p:nvSpPr>
          <p:spPr bwMode="auto">
            <a:xfrm>
              <a:off x="7599595" y="5151316"/>
              <a:ext cx="40191" cy="25454"/>
            </a:xfrm>
            <a:custGeom>
              <a:avLst/>
              <a:gdLst>
                <a:gd name="T0" fmla="*/ 0 w 22"/>
                <a:gd name="T1" fmla="*/ 0 h 14"/>
                <a:gd name="T2" fmla="*/ 7 w 22"/>
                <a:gd name="T3" fmla="*/ 9 h 14"/>
                <a:gd name="T4" fmla="*/ 12 w 22"/>
                <a:gd name="T5" fmla="*/ 14 h 14"/>
                <a:gd name="T6" fmla="*/ 17 w 22"/>
                <a:gd name="T7" fmla="*/ 14 h 14"/>
                <a:gd name="T8" fmla="*/ 22 w 22"/>
                <a:gd name="T9" fmla="*/ 14 h 14"/>
                <a:gd name="T10" fmla="*/ 0 w 22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4">
                  <a:moveTo>
                    <a:pt x="0" y="0"/>
                  </a:moveTo>
                  <a:cubicBezTo>
                    <a:pt x="2" y="3"/>
                    <a:pt x="4" y="6"/>
                    <a:pt x="7" y="9"/>
                  </a:cubicBezTo>
                  <a:cubicBezTo>
                    <a:pt x="8" y="11"/>
                    <a:pt x="10" y="13"/>
                    <a:pt x="12" y="14"/>
                  </a:cubicBezTo>
                  <a:cubicBezTo>
                    <a:pt x="13" y="14"/>
                    <a:pt x="15" y="14"/>
                    <a:pt x="17" y="14"/>
                  </a:cubicBezTo>
                  <a:cubicBezTo>
                    <a:pt x="19" y="14"/>
                    <a:pt x="20" y="14"/>
                    <a:pt x="22" y="14"/>
                  </a:cubicBezTo>
                  <a:cubicBezTo>
                    <a:pt x="15" y="10"/>
                    <a:pt x="7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Freeform 3170"/>
            <p:cNvSpPr/>
            <p:nvPr userDrawn="1"/>
          </p:nvSpPr>
          <p:spPr bwMode="auto">
            <a:xfrm>
              <a:off x="7562084" y="5136580"/>
              <a:ext cx="95118" cy="40191"/>
            </a:xfrm>
            <a:custGeom>
              <a:avLst/>
              <a:gdLst>
                <a:gd name="T0" fmla="*/ 11 w 52"/>
                <a:gd name="T1" fmla="*/ 0 h 22"/>
                <a:gd name="T2" fmla="*/ 8 w 52"/>
                <a:gd name="T3" fmla="*/ 0 h 22"/>
                <a:gd name="T4" fmla="*/ 2 w 52"/>
                <a:gd name="T5" fmla="*/ 9 h 22"/>
                <a:gd name="T6" fmla="*/ 4 w 52"/>
                <a:gd name="T7" fmla="*/ 13 h 22"/>
                <a:gd name="T8" fmla="*/ 32 w 52"/>
                <a:gd name="T9" fmla="*/ 22 h 22"/>
                <a:gd name="T10" fmla="*/ 27 w 52"/>
                <a:gd name="T11" fmla="*/ 17 h 22"/>
                <a:gd name="T12" fmla="*/ 20 w 52"/>
                <a:gd name="T13" fmla="*/ 8 h 22"/>
                <a:gd name="T14" fmla="*/ 42 w 52"/>
                <a:gd name="T15" fmla="*/ 22 h 22"/>
                <a:gd name="T16" fmla="*/ 49 w 52"/>
                <a:gd name="T17" fmla="*/ 21 h 22"/>
                <a:gd name="T18" fmla="*/ 50 w 52"/>
                <a:gd name="T19" fmla="*/ 16 h 22"/>
                <a:gd name="T20" fmla="*/ 46 w 52"/>
                <a:gd name="T21" fmla="*/ 14 h 22"/>
                <a:gd name="T22" fmla="*/ 23 w 52"/>
                <a:gd name="T23" fmla="*/ 4 h 22"/>
                <a:gd name="T24" fmla="*/ 11 w 52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22">
                  <a:moveTo>
                    <a:pt x="11" y="0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4" y="1"/>
                    <a:pt x="0" y="5"/>
                    <a:pt x="2" y="9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13" y="18"/>
                    <a:pt x="22" y="21"/>
                    <a:pt x="32" y="22"/>
                  </a:cubicBezTo>
                  <a:cubicBezTo>
                    <a:pt x="30" y="21"/>
                    <a:pt x="28" y="19"/>
                    <a:pt x="27" y="17"/>
                  </a:cubicBezTo>
                  <a:cubicBezTo>
                    <a:pt x="24" y="14"/>
                    <a:pt x="22" y="11"/>
                    <a:pt x="20" y="8"/>
                  </a:cubicBezTo>
                  <a:cubicBezTo>
                    <a:pt x="27" y="13"/>
                    <a:pt x="35" y="18"/>
                    <a:pt x="42" y="22"/>
                  </a:cubicBezTo>
                  <a:cubicBezTo>
                    <a:pt x="44" y="22"/>
                    <a:pt x="47" y="21"/>
                    <a:pt x="49" y="21"/>
                  </a:cubicBezTo>
                  <a:cubicBezTo>
                    <a:pt x="51" y="20"/>
                    <a:pt x="52" y="17"/>
                    <a:pt x="50" y="16"/>
                  </a:cubicBezTo>
                  <a:cubicBezTo>
                    <a:pt x="49" y="15"/>
                    <a:pt x="47" y="15"/>
                    <a:pt x="46" y="14"/>
                  </a:cubicBezTo>
                  <a:cubicBezTo>
                    <a:pt x="37" y="13"/>
                    <a:pt x="30" y="9"/>
                    <a:pt x="23" y="4"/>
                  </a:cubicBezTo>
                  <a:cubicBezTo>
                    <a:pt x="19" y="2"/>
                    <a:pt x="15" y="0"/>
                    <a:pt x="11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Freeform 3171"/>
            <p:cNvSpPr/>
            <p:nvPr userDrawn="1"/>
          </p:nvSpPr>
          <p:spPr bwMode="auto">
            <a:xfrm>
              <a:off x="7725525" y="5286625"/>
              <a:ext cx="40191" cy="30813"/>
            </a:xfrm>
            <a:custGeom>
              <a:avLst/>
              <a:gdLst>
                <a:gd name="T0" fmla="*/ 11 w 22"/>
                <a:gd name="T1" fmla="*/ 0 h 17"/>
                <a:gd name="T2" fmla="*/ 11 w 22"/>
                <a:gd name="T3" fmla="*/ 17 h 17"/>
                <a:gd name="T4" fmla="*/ 11 w 22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7">
                  <a:moveTo>
                    <a:pt x="11" y="0"/>
                  </a:moveTo>
                  <a:cubicBezTo>
                    <a:pt x="1" y="0"/>
                    <a:pt x="0" y="17"/>
                    <a:pt x="11" y="17"/>
                  </a:cubicBezTo>
                  <a:cubicBezTo>
                    <a:pt x="21" y="17"/>
                    <a:pt x="2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Freeform 3172"/>
            <p:cNvSpPr/>
            <p:nvPr userDrawn="1"/>
          </p:nvSpPr>
          <p:spPr bwMode="auto">
            <a:xfrm>
              <a:off x="7651843" y="5101748"/>
              <a:ext cx="17416" cy="10717"/>
            </a:xfrm>
            <a:custGeom>
              <a:avLst/>
              <a:gdLst>
                <a:gd name="T0" fmla="*/ 5 w 9"/>
                <a:gd name="T1" fmla="*/ 0 h 6"/>
                <a:gd name="T2" fmla="*/ 4 w 9"/>
                <a:gd name="T3" fmla="*/ 6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0" y="0"/>
                    <a:pt x="0" y="6"/>
                    <a:pt x="4" y="6"/>
                  </a:cubicBezTo>
                  <a:cubicBezTo>
                    <a:pt x="8" y="6"/>
                    <a:pt x="9" y="0"/>
                    <a:pt x="5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Freeform 3173"/>
            <p:cNvSpPr/>
            <p:nvPr userDrawn="1"/>
          </p:nvSpPr>
          <p:spPr bwMode="auto">
            <a:xfrm>
              <a:off x="7899685" y="5178110"/>
              <a:ext cx="34832" cy="32152"/>
            </a:xfrm>
            <a:custGeom>
              <a:avLst/>
              <a:gdLst>
                <a:gd name="T0" fmla="*/ 10 w 19"/>
                <a:gd name="T1" fmla="*/ 0 h 17"/>
                <a:gd name="T2" fmla="*/ 4 w 19"/>
                <a:gd name="T3" fmla="*/ 2 h 17"/>
                <a:gd name="T4" fmla="*/ 4 w 19"/>
                <a:gd name="T5" fmla="*/ 15 h 17"/>
                <a:gd name="T6" fmla="*/ 10 w 19"/>
                <a:gd name="T7" fmla="*/ 17 h 17"/>
                <a:gd name="T8" fmla="*/ 13 w 19"/>
                <a:gd name="T9" fmla="*/ 16 h 17"/>
                <a:gd name="T10" fmla="*/ 13 w 19"/>
                <a:gd name="T11" fmla="*/ 16 h 17"/>
                <a:gd name="T12" fmla="*/ 18 w 19"/>
                <a:gd name="T13" fmla="*/ 12 h 17"/>
                <a:gd name="T14" fmla="*/ 18 w 19"/>
                <a:gd name="T15" fmla="*/ 5 h 17"/>
                <a:gd name="T16" fmla="*/ 10 w 19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7">
                  <a:moveTo>
                    <a:pt x="10" y="0"/>
                  </a:moveTo>
                  <a:cubicBezTo>
                    <a:pt x="8" y="0"/>
                    <a:pt x="6" y="1"/>
                    <a:pt x="4" y="2"/>
                  </a:cubicBezTo>
                  <a:cubicBezTo>
                    <a:pt x="0" y="6"/>
                    <a:pt x="1" y="11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1" y="17"/>
                    <a:pt x="12" y="17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6"/>
                    <a:pt x="17" y="14"/>
                    <a:pt x="18" y="12"/>
                  </a:cubicBezTo>
                  <a:cubicBezTo>
                    <a:pt x="19" y="9"/>
                    <a:pt x="19" y="7"/>
                    <a:pt x="18" y="5"/>
                  </a:cubicBezTo>
                  <a:cubicBezTo>
                    <a:pt x="16" y="1"/>
                    <a:pt x="13" y="0"/>
                    <a:pt x="1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Freeform 3174"/>
            <p:cNvSpPr/>
            <p:nvPr userDrawn="1"/>
          </p:nvSpPr>
          <p:spPr bwMode="auto">
            <a:xfrm>
              <a:off x="7980066" y="5302701"/>
              <a:ext cx="25454" cy="18756"/>
            </a:xfrm>
            <a:custGeom>
              <a:avLst/>
              <a:gdLst>
                <a:gd name="T0" fmla="*/ 7 w 14"/>
                <a:gd name="T1" fmla="*/ 0 h 10"/>
                <a:gd name="T2" fmla="*/ 7 w 14"/>
                <a:gd name="T3" fmla="*/ 10 h 10"/>
                <a:gd name="T4" fmla="*/ 7 w 1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0">
                  <a:moveTo>
                    <a:pt x="7" y="0"/>
                  </a:moveTo>
                  <a:cubicBezTo>
                    <a:pt x="14" y="0"/>
                    <a:pt x="13" y="10"/>
                    <a:pt x="7" y="10"/>
                  </a:cubicBezTo>
                  <a:cubicBezTo>
                    <a:pt x="0" y="10"/>
                    <a:pt x="1" y="0"/>
                    <a:pt x="7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Freeform 3175"/>
            <p:cNvSpPr/>
            <p:nvPr userDrawn="1"/>
          </p:nvSpPr>
          <p:spPr bwMode="auto">
            <a:xfrm>
              <a:off x="7671938" y="5377723"/>
              <a:ext cx="211670" cy="109854"/>
            </a:xfrm>
            <a:custGeom>
              <a:avLst/>
              <a:gdLst>
                <a:gd name="T0" fmla="*/ 11 w 115"/>
                <a:gd name="T1" fmla="*/ 0 h 60"/>
                <a:gd name="T2" fmla="*/ 9 w 115"/>
                <a:gd name="T3" fmla="*/ 16 h 60"/>
                <a:gd name="T4" fmla="*/ 100 w 115"/>
                <a:gd name="T5" fmla="*/ 60 h 60"/>
                <a:gd name="T6" fmla="*/ 102 w 115"/>
                <a:gd name="T7" fmla="*/ 60 h 60"/>
                <a:gd name="T8" fmla="*/ 105 w 115"/>
                <a:gd name="T9" fmla="*/ 44 h 60"/>
                <a:gd name="T10" fmla="*/ 66 w 115"/>
                <a:gd name="T11" fmla="*/ 25 h 60"/>
                <a:gd name="T12" fmla="*/ 14 w 115"/>
                <a:gd name="T13" fmla="*/ 0 h 60"/>
                <a:gd name="T14" fmla="*/ 11 w 115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60">
                  <a:moveTo>
                    <a:pt x="11" y="0"/>
                  </a:moveTo>
                  <a:cubicBezTo>
                    <a:pt x="3" y="0"/>
                    <a:pt x="0" y="13"/>
                    <a:pt x="9" y="16"/>
                  </a:cubicBezTo>
                  <a:cubicBezTo>
                    <a:pt x="42" y="25"/>
                    <a:pt x="67" y="51"/>
                    <a:pt x="100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11" y="60"/>
                    <a:pt x="115" y="47"/>
                    <a:pt x="105" y="44"/>
                  </a:cubicBezTo>
                  <a:cubicBezTo>
                    <a:pt x="92" y="40"/>
                    <a:pt x="79" y="32"/>
                    <a:pt x="66" y="25"/>
                  </a:cubicBezTo>
                  <a:cubicBezTo>
                    <a:pt x="59" y="7"/>
                    <a:pt x="34" y="7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Freeform 3176"/>
            <p:cNvSpPr/>
            <p:nvPr userDrawn="1"/>
          </p:nvSpPr>
          <p:spPr bwMode="auto">
            <a:xfrm>
              <a:off x="7600935" y="5306720"/>
              <a:ext cx="24114" cy="18756"/>
            </a:xfrm>
            <a:custGeom>
              <a:avLst/>
              <a:gdLst>
                <a:gd name="T0" fmla="*/ 7 w 13"/>
                <a:gd name="T1" fmla="*/ 0 h 10"/>
                <a:gd name="T2" fmla="*/ 6 w 13"/>
                <a:gd name="T3" fmla="*/ 10 h 10"/>
                <a:gd name="T4" fmla="*/ 7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7" y="0"/>
                  </a:moveTo>
                  <a:cubicBezTo>
                    <a:pt x="0" y="0"/>
                    <a:pt x="0" y="10"/>
                    <a:pt x="6" y="10"/>
                  </a:cubicBezTo>
                  <a:cubicBezTo>
                    <a:pt x="13" y="10"/>
                    <a:pt x="13" y="0"/>
                    <a:pt x="7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Freeform 3177"/>
            <p:cNvSpPr/>
            <p:nvPr userDrawn="1"/>
          </p:nvSpPr>
          <p:spPr bwMode="auto">
            <a:xfrm>
              <a:off x="7685335" y="5490257"/>
              <a:ext cx="18756" cy="17416"/>
            </a:xfrm>
            <a:custGeom>
              <a:avLst/>
              <a:gdLst>
                <a:gd name="T0" fmla="*/ 1 w 10"/>
                <a:gd name="T1" fmla="*/ 0 h 10"/>
                <a:gd name="T2" fmla="*/ 0 w 10"/>
                <a:gd name="T3" fmla="*/ 0 h 10"/>
                <a:gd name="T4" fmla="*/ 10 w 10"/>
                <a:gd name="T5" fmla="*/ 10 h 10"/>
                <a:gd name="T6" fmla="*/ 8 w 10"/>
                <a:gd name="T7" fmla="*/ 4 h 10"/>
                <a:gd name="T8" fmla="*/ 3 w 10"/>
                <a:gd name="T9" fmla="*/ 0 h 10"/>
                <a:gd name="T10" fmla="*/ 1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3" y="3"/>
                    <a:pt x="7" y="6"/>
                    <a:pt x="10" y="10"/>
                  </a:cubicBezTo>
                  <a:cubicBezTo>
                    <a:pt x="10" y="7"/>
                    <a:pt x="10" y="5"/>
                    <a:pt x="8" y="4"/>
                  </a:cubicBezTo>
                  <a:cubicBezTo>
                    <a:pt x="6" y="2"/>
                    <a:pt x="5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Freeform 3178"/>
            <p:cNvSpPr/>
            <p:nvPr userDrawn="1"/>
          </p:nvSpPr>
          <p:spPr bwMode="auto">
            <a:xfrm>
              <a:off x="7475004" y="5237056"/>
              <a:ext cx="96457" cy="64305"/>
            </a:xfrm>
            <a:custGeom>
              <a:avLst/>
              <a:gdLst>
                <a:gd name="T0" fmla="*/ 8 w 53"/>
                <a:gd name="T1" fmla="*/ 0 h 35"/>
                <a:gd name="T2" fmla="*/ 4 w 53"/>
                <a:gd name="T3" fmla="*/ 2 h 35"/>
                <a:gd name="T4" fmla="*/ 19 w 53"/>
                <a:gd name="T5" fmla="*/ 25 h 35"/>
                <a:gd name="T6" fmla="*/ 49 w 53"/>
                <a:gd name="T7" fmla="*/ 35 h 35"/>
                <a:gd name="T8" fmla="*/ 49 w 53"/>
                <a:gd name="T9" fmla="*/ 35 h 35"/>
                <a:gd name="T10" fmla="*/ 51 w 53"/>
                <a:gd name="T11" fmla="*/ 31 h 35"/>
                <a:gd name="T12" fmla="*/ 27 w 53"/>
                <a:gd name="T13" fmla="*/ 16 h 35"/>
                <a:gd name="T14" fmla="*/ 8 w 53"/>
                <a:gd name="T15" fmla="*/ 0 h 35"/>
                <a:gd name="T16" fmla="*/ 8 w 53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5">
                  <a:moveTo>
                    <a:pt x="8" y="0"/>
                  </a:moveTo>
                  <a:cubicBezTo>
                    <a:pt x="6" y="0"/>
                    <a:pt x="5" y="1"/>
                    <a:pt x="4" y="2"/>
                  </a:cubicBezTo>
                  <a:cubicBezTo>
                    <a:pt x="0" y="12"/>
                    <a:pt x="12" y="21"/>
                    <a:pt x="19" y="25"/>
                  </a:cubicBezTo>
                  <a:cubicBezTo>
                    <a:pt x="28" y="31"/>
                    <a:pt x="38" y="33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2" y="35"/>
                    <a:pt x="53" y="32"/>
                    <a:pt x="51" y="31"/>
                  </a:cubicBezTo>
                  <a:cubicBezTo>
                    <a:pt x="43" y="27"/>
                    <a:pt x="34" y="22"/>
                    <a:pt x="27" y="16"/>
                  </a:cubicBezTo>
                  <a:cubicBezTo>
                    <a:pt x="21" y="12"/>
                    <a:pt x="16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Freeform 3179"/>
            <p:cNvSpPr/>
            <p:nvPr userDrawn="1"/>
          </p:nvSpPr>
          <p:spPr bwMode="auto">
            <a:xfrm>
              <a:off x="7521893" y="5400498"/>
              <a:ext cx="203632" cy="146026"/>
            </a:xfrm>
            <a:custGeom>
              <a:avLst/>
              <a:gdLst>
                <a:gd name="T0" fmla="*/ 8 w 111"/>
                <a:gd name="T1" fmla="*/ 0 h 80"/>
                <a:gd name="T2" fmla="*/ 4 w 111"/>
                <a:gd name="T3" fmla="*/ 10 h 80"/>
                <a:gd name="T4" fmla="*/ 3 w 111"/>
                <a:gd name="T5" fmla="*/ 10 h 80"/>
                <a:gd name="T6" fmla="*/ 47 w 111"/>
                <a:gd name="T7" fmla="*/ 44 h 80"/>
                <a:gd name="T8" fmla="*/ 52 w 111"/>
                <a:gd name="T9" fmla="*/ 47 h 80"/>
                <a:gd name="T10" fmla="*/ 89 w 111"/>
                <a:gd name="T11" fmla="*/ 78 h 80"/>
                <a:gd name="T12" fmla="*/ 93 w 111"/>
                <a:gd name="T13" fmla="*/ 80 h 80"/>
                <a:gd name="T14" fmla="*/ 95 w 111"/>
                <a:gd name="T15" fmla="*/ 79 h 80"/>
                <a:gd name="T16" fmla="*/ 98 w 111"/>
                <a:gd name="T17" fmla="*/ 80 h 80"/>
                <a:gd name="T18" fmla="*/ 105 w 111"/>
                <a:gd name="T19" fmla="*/ 65 h 80"/>
                <a:gd name="T20" fmla="*/ 99 w 111"/>
                <a:gd name="T21" fmla="*/ 59 h 80"/>
                <a:gd name="T22" fmla="*/ 97 w 111"/>
                <a:gd name="T23" fmla="*/ 64 h 80"/>
                <a:gd name="T24" fmla="*/ 91 w 111"/>
                <a:gd name="T25" fmla="*/ 66 h 80"/>
                <a:gd name="T26" fmla="*/ 85 w 111"/>
                <a:gd name="T27" fmla="*/ 64 h 80"/>
                <a:gd name="T28" fmla="*/ 82 w 111"/>
                <a:gd name="T29" fmla="*/ 58 h 80"/>
                <a:gd name="T30" fmla="*/ 89 w 111"/>
                <a:gd name="T31" fmla="*/ 49 h 80"/>
                <a:gd name="T32" fmla="*/ 57 w 111"/>
                <a:gd name="T33" fmla="*/ 27 h 80"/>
                <a:gd name="T34" fmla="*/ 10 w 111"/>
                <a:gd name="T35" fmla="*/ 0 h 80"/>
                <a:gd name="T36" fmla="*/ 8 w 111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80">
                  <a:moveTo>
                    <a:pt x="8" y="0"/>
                  </a:moveTo>
                  <a:cubicBezTo>
                    <a:pt x="3" y="0"/>
                    <a:pt x="0" y="7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5" y="25"/>
                    <a:pt x="31" y="34"/>
                    <a:pt x="47" y="44"/>
                  </a:cubicBezTo>
                  <a:cubicBezTo>
                    <a:pt x="48" y="45"/>
                    <a:pt x="50" y="46"/>
                    <a:pt x="52" y="47"/>
                  </a:cubicBezTo>
                  <a:cubicBezTo>
                    <a:pt x="64" y="57"/>
                    <a:pt x="77" y="68"/>
                    <a:pt x="89" y="78"/>
                  </a:cubicBezTo>
                  <a:cubicBezTo>
                    <a:pt x="90" y="79"/>
                    <a:pt x="92" y="80"/>
                    <a:pt x="93" y="80"/>
                  </a:cubicBezTo>
                  <a:cubicBezTo>
                    <a:pt x="94" y="80"/>
                    <a:pt x="95" y="80"/>
                    <a:pt x="95" y="79"/>
                  </a:cubicBezTo>
                  <a:cubicBezTo>
                    <a:pt x="96" y="80"/>
                    <a:pt x="97" y="80"/>
                    <a:pt x="98" y="80"/>
                  </a:cubicBezTo>
                  <a:cubicBezTo>
                    <a:pt x="105" y="80"/>
                    <a:pt x="111" y="72"/>
                    <a:pt x="105" y="65"/>
                  </a:cubicBezTo>
                  <a:cubicBezTo>
                    <a:pt x="103" y="63"/>
                    <a:pt x="101" y="61"/>
                    <a:pt x="99" y="59"/>
                  </a:cubicBezTo>
                  <a:cubicBezTo>
                    <a:pt x="99" y="61"/>
                    <a:pt x="98" y="63"/>
                    <a:pt x="97" y="64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9" y="66"/>
                    <a:pt x="87" y="66"/>
                    <a:pt x="85" y="64"/>
                  </a:cubicBezTo>
                  <a:cubicBezTo>
                    <a:pt x="84" y="62"/>
                    <a:pt x="82" y="61"/>
                    <a:pt x="82" y="58"/>
                  </a:cubicBezTo>
                  <a:cubicBezTo>
                    <a:pt x="81" y="53"/>
                    <a:pt x="84" y="50"/>
                    <a:pt x="89" y="49"/>
                  </a:cubicBezTo>
                  <a:cubicBezTo>
                    <a:pt x="79" y="41"/>
                    <a:pt x="68" y="34"/>
                    <a:pt x="57" y="27"/>
                  </a:cubicBezTo>
                  <a:cubicBezTo>
                    <a:pt x="42" y="17"/>
                    <a:pt x="27" y="6"/>
                    <a:pt x="10" y="0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Freeform 3180"/>
            <p:cNvSpPr/>
            <p:nvPr userDrawn="1"/>
          </p:nvSpPr>
          <p:spPr bwMode="auto">
            <a:xfrm>
              <a:off x="7670598" y="5490257"/>
              <a:ext cx="33492" cy="30813"/>
            </a:xfrm>
            <a:custGeom>
              <a:avLst/>
              <a:gdLst>
                <a:gd name="T0" fmla="*/ 8 w 18"/>
                <a:gd name="T1" fmla="*/ 0 h 17"/>
                <a:gd name="T2" fmla="*/ 1 w 18"/>
                <a:gd name="T3" fmla="*/ 9 h 17"/>
                <a:gd name="T4" fmla="*/ 4 w 18"/>
                <a:gd name="T5" fmla="*/ 15 h 17"/>
                <a:gd name="T6" fmla="*/ 10 w 18"/>
                <a:gd name="T7" fmla="*/ 17 h 17"/>
                <a:gd name="T8" fmla="*/ 16 w 18"/>
                <a:gd name="T9" fmla="*/ 15 h 17"/>
                <a:gd name="T10" fmla="*/ 18 w 18"/>
                <a:gd name="T11" fmla="*/ 10 h 17"/>
                <a:gd name="T12" fmla="*/ 8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8" y="0"/>
                  </a:moveTo>
                  <a:cubicBezTo>
                    <a:pt x="3" y="1"/>
                    <a:pt x="0" y="4"/>
                    <a:pt x="1" y="9"/>
                  </a:cubicBezTo>
                  <a:cubicBezTo>
                    <a:pt x="1" y="12"/>
                    <a:pt x="3" y="13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2" y="17"/>
                    <a:pt x="14" y="17"/>
                    <a:pt x="16" y="15"/>
                  </a:cubicBezTo>
                  <a:cubicBezTo>
                    <a:pt x="17" y="14"/>
                    <a:pt x="18" y="12"/>
                    <a:pt x="18" y="10"/>
                  </a:cubicBezTo>
                  <a:cubicBezTo>
                    <a:pt x="15" y="6"/>
                    <a:pt x="11" y="3"/>
                    <a:pt x="8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Freeform 3181"/>
            <p:cNvSpPr/>
            <p:nvPr userDrawn="1"/>
          </p:nvSpPr>
          <p:spPr bwMode="auto">
            <a:xfrm>
              <a:off x="7469645" y="5152656"/>
              <a:ext cx="408604" cy="409944"/>
            </a:xfrm>
            <a:custGeom>
              <a:avLst/>
              <a:gdLst>
                <a:gd name="T0" fmla="*/ 25 w 223"/>
                <a:gd name="T1" fmla="*/ 0 h 224"/>
                <a:gd name="T2" fmla="*/ 24 w 223"/>
                <a:gd name="T3" fmla="*/ 22 h 224"/>
                <a:gd name="T4" fmla="*/ 203 w 223"/>
                <a:gd name="T5" fmla="*/ 201 h 224"/>
                <a:gd name="T6" fmla="*/ 223 w 223"/>
                <a:gd name="T7" fmla="*/ 200 h 224"/>
                <a:gd name="T8" fmla="*/ 142 w 223"/>
                <a:gd name="T9" fmla="*/ 224 h 224"/>
                <a:gd name="T10" fmla="*/ 0 w 223"/>
                <a:gd name="T11" fmla="*/ 82 h 224"/>
                <a:gd name="T12" fmla="*/ 25 w 223"/>
                <a:gd name="T1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24">
                  <a:moveTo>
                    <a:pt x="25" y="0"/>
                  </a:moveTo>
                  <a:cubicBezTo>
                    <a:pt x="25" y="7"/>
                    <a:pt x="24" y="14"/>
                    <a:pt x="24" y="22"/>
                  </a:cubicBezTo>
                  <a:cubicBezTo>
                    <a:pt x="24" y="119"/>
                    <a:pt x="105" y="201"/>
                    <a:pt x="203" y="201"/>
                  </a:cubicBezTo>
                  <a:cubicBezTo>
                    <a:pt x="210" y="201"/>
                    <a:pt x="216" y="201"/>
                    <a:pt x="223" y="200"/>
                  </a:cubicBezTo>
                  <a:cubicBezTo>
                    <a:pt x="200" y="215"/>
                    <a:pt x="172" y="224"/>
                    <a:pt x="142" y="224"/>
                  </a:cubicBezTo>
                  <a:cubicBezTo>
                    <a:pt x="64" y="224"/>
                    <a:pt x="0" y="160"/>
                    <a:pt x="0" y="82"/>
                  </a:cubicBezTo>
                  <a:cubicBezTo>
                    <a:pt x="0" y="51"/>
                    <a:pt x="9" y="23"/>
                    <a:pt x="25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Freeform 3211"/>
            <p:cNvSpPr/>
            <p:nvPr userDrawn="1"/>
          </p:nvSpPr>
          <p:spPr bwMode="auto">
            <a:xfrm>
              <a:off x="9901175" y="2605913"/>
              <a:ext cx="148705" cy="136648"/>
            </a:xfrm>
            <a:custGeom>
              <a:avLst/>
              <a:gdLst>
                <a:gd name="T0" fmla="*/ 55 w 111"/>
                <a:gd name="T1" fmla="*/ 0 h 102"/>
                <a:gd name="T2" fmla="*/ 69 w 111"/>
                <a:gd name="T3" fmla="*/ 39 h 102"/>
                <a:gd name="T4" fmla="*/ 111 w 111"/>
                <a:gd name="T5" fmla="*/ 39 h 102"/>
                <a:gd name="T6" fmla="*/ 77 w 111"/>
                <a:gd name="T7" fmla="*/ 64 h 102"/>
                <a:gd name="T8" fmla="*/ 89 w 111"/>
                <a:gd name="T9" fmla="*/ 102 h 102"/>
                <a:gd name="T10" fmla="*/ 55 w 111"/>
                <a:gd name="T11" fmla="*/ 78 h 102"/>
                <a:gd name="T12" fmla="*/ 22 w 111"/>
                <a:gd name="T13" fmla="*/ 102 h 102"/>
                <a:gd name="T14" fmla="*/ 34 w 111"/>
                <a:gd name="T15" fmla="*/ 64 h 102"/>
                <a:gd name="T16" fmla="*/ 0 w 111"/>
                <a:gd name="T17" fmla="*/ 39 h 102"/>
                <a:gd name="T18" fmla="*/ 43 w 111"/>
                <a:gd name="T19" fmla="*/ 39 h 102"/>
                <a:gd name="T20" fmla="*/ 55 w 11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" h="102">
                  <a:moveTo>
                    <a:pt x="55" y="0"/>
                  </a:moveTo>
                  <a:lnTo>
                    <a:pt x="69" y="39"/>
                  </a:lnTo>
                  <a:lnTo>
                    <a:pt x="111" y="39"/>
                  </a:lnTo>
                  <a:lnTo>
                    <a:pt x="77" y="64"/>
                  </a:lnTo>
                  <a:lnTo>
                    <a:pt x="89" y="102"/>
                  </a:lnTo>
                  <a:lnTo>
                    <a:pt x="55" y="78"/>
                  </a:lnTo>
                  <a:lnTo>
                    <a:pt x="22" y="102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3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Freeform 3215"/>
            <p:cNvSpPr/>
            <p:nvPr userDrawn="1"/>
          </p:nvSpPr>
          <p:spPr bwMode="auto">
            <a:xfrm>
              <a:off x="7903704" y="3812970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8 w 109"/>
                <a:gd name="T3" fmla="*/ 39 h 103"/>
                <a:gd name="T4" fmla="*/ 109 w 109"/>
                <a:gd name="T5" fmla="*/ 39 h 103"/>
                <a:gd name="T6" fmla="*/ 76 w 109"/>
                <a:gd name="T7" fmla="*/ 64 h 103"/>
                <a:gd name="T8" fmla="*/ 89 w 109"/>
                <a:gd name="T9" fmla="*/ 103 h 103"/>
                <a:gd name="T10" fmla="*/ 55 w 109"/>
                <a:gd name="T11" fmla="*/ 79 h 103"/>
                <a:gd name="T12" fmla="*/ 22 w 109"/>
                <a:gd name="T13" fmla="*/ 103 h 103"/>
                <a:gd name="T14" fmla="*/ 34 w 109"/>
                <a:gd name="T15" fmla="*/ 64 h 103"/>
                <a:gd name="T16" fmla="*/ 0 w 109"/>
                <a:gd name="T17" fmla="*/ 39 h 103"/>
                <a:gd name="T18" fmla="*/ 42 w 109"/>
                <a:gd name="T19" fmla="*/ 39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8" y="39"/>
                  </a:lnTo>
                  <a:lnTo>
                    <a:pt x="109" y="39"/>
                  </a:lnTo>
                  <a:lnTo>
                    <a:pt x="76" y="64"/>
                  </a:lnTo>
                  <a:lnTo>
                    <a:pt x="89" y="103"/>
                  </a:lnTo>
                  <a:lnTo>
                    <a:pt x="55" y="79"/>
                  </a:lnTo>
                  <a:lnTo>
                    <a:pt x="22" y="103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2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Freeform 3216"/>
            <p:cNvSpPr/>
            <p:nvPr userDrawn="1"/>
          </p:nvSpPr>
          <p:spPr bwMode="auto">
            <a:xfrm>
              <a:off x="10273608" y="4604725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7 w 109"/>
                <a:gd name="T3" fmla="*/ 40 h 103"/>
                <a:gd name="T4" fmla="*/ 109 w 109"/>
                <a:gd name="T5" fmla="*/ 40 h 103"/>
                <a:gd name="T6" fmla="*/ 75 w 109"/>
                <a:gd name="T7" fmla="*/ 63 h 103"/>
                <a:gd name="T8" fmla="*/ 89 w 109"/>
                <a:gd name="T9" fmla="*/ 103 h 103"/>
                <a:gd name="T10" fmla="*/ 55 w 109"/>
                <a:gd name="T11" fmla="*/ 77 h 103"/>
                <a:gd name="T12" fmla="*/ 20 w 109"/>
                <a:gd name="T13" fmla="*/ 102 h 103"/>
                <a:gd name="T14" fmla="*/ 34 w 109"/>
                <a:gd name="T15" fmla="*/ 63 h 103"/>
                <a:gd name="T16" fmla="*/ 0 w 109"/>
                <a:gd name="T17" fmla="*/ 40 h 103"/>
                <a:gd name="T18" fmla="*/ 41 w 109"/>
                <a:gd name="T19" fmla="*/ 40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7" y="40"/>
                  </a:lnTo>
                  <a:lnTo>
                    <a:pt x="109" y="40"/>
                  </a:lnTo>
                  <a:lnTo>
                    <a:pt x="75" y="63"/>
                  </a:lnTo>
                  <a:lnTo>
                    <a:pt x="89" y="103"/>
                  </a:lnTo>
                  <a:lnTo>
                    <a:pt x="55" y="77"/>
                  </a:lnTo>
                  <a:lnTo>
                    <a:pt x="20" y="102"/>
                  </a:lnTo>
                  <a:lnTo>
                    <a:pt x="34" y="63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Freeform 3217"/>
            <p:cNvSpPr/>
            <p:nvPr userDrawn="1"/>
          </p:nvSpPr>
          <p:spPr bwMode="auto">
            <a:xfrm>
              <a:off x="10805463" y="3523598"/>
              <a:ext cx="120572" cy="120572"/>
            </a:xfrm>
            <a:custGeom>
              <a:avLst/>
              <a:gdLst>
                <a:gd name="T0" fmla="*/ 38 w 90"/>
                <a:gd name="T1" fmla="*/ 38 h 90"/>
                <a:gd name="T2" fmla="*/ 45 w 90"/>
                <a:gd name="T3" fmla="*/ 0 h 90"/>
                <a:gd name="T4" fmla="*/ 50 w 90"/>
                <a:gd name="T5" fmla="*/ 38 h 90"/>
                <a:gd name="T6" fmla="*/ 90 w 90"/>
                <a:gd name="T7" fmla="*/ 45 h 90"/>
                <a:gd name="T8" fmla="*/ 50 w 90"/>
                <a:gd name="T9" fmla="*/ 50 h 90"/>
                <a:gd name="T10" fmla="*/ 44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38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38" y="38"/>
                  </a:moveTo>
                  <a:lnTo>
                    <a:pt x="45" y="0"/>
                  </a:lnTo>
                  <a:lnTo>
                    <a:pt x="50" y="38"/>
                  </a:lnTo>
                  <a:lnTo>
                    <a:pt x="90" y="45"/>
                  </a:lnTo>
                  <a:lnTo>
                    <a:pt x="50" y="50"/>
                  </a:lnTo>
                  <a:lnTo>
                    <a:pt x="44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Freeform 3218"/>
            <p:cNvSpPr/>
            <p:nvPr userDrawn="1"/>
          </p:nvSpPr>
          <p:spPr bwMode="auto">
            <a:xfrm>
              <a:off x="8521299" y="2305824"/>
              <a:ext cx="120572" cy="120572"/>
            </a:xfrm>
            <a:custGeom>
              <a:avLst/>
              <a:gdLst>
                <a:gd name="T0" fmla="*/ 40 w 90"/>
                <a:gd name="T1" fmla="*/ 38 h 90"/>
                <a:gd name="T2" fmla="*/ 45 w 90"/>
                <a:gd name="T3" fmla="*/ 0 h 90"/>
                <a:gd name="T4" fmla="*/ 51 w 90"/>
                <a:gd name="T5" fmla="*/ 38 h 90"/>
                <a:gd name="T6" fmla="*/ 90 w 90"/>
                <a:gd name="T7" fmla="*/ 45 h 90"/>
                <a:gd name="T8" fmla="*/ 51 w 90"/>
                <a:gd name="T9" fmla="*/ 50 h 90"/>
                <a:gd name="T10" fmla="*/ 45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40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40" y="38"/>
                  </a:moveTo>
                  <a:lnTo>
                    <a:pt x="45" y="0"/>
                  </a:lnTo>
                  <a:lnTo>
                    <a:pt x="51" y="38"/>
                  </a:lnTo>
                  <a:lnTo>
                    <a:pt x="90" y="45"/>
                  </a:lnTo>
                  <a:lnTo>
                    <a:pt x="51" y="50"/>
                  </a:lnTo>
                  <a:lnTo>
                    <a:pt x="45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40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Freeform 3219"/>
            <p:cNvSpPr/>
            <p:nvPr userDrawn="1"/>
          </p:nvSpPr>
          <p:spPr bwMode="auto">
            <a:xfrm>
              <a:off x="10861730" y="5377723"/>
              <a:ext cx="120572" cy="121911"/>
            </a:xfrm>
            <a:custGeom>
              <a:avLst/>
              <a:gdLst>
                <a:gd name="T0" fmla="*/ 38 w 90"/>
                <a:gd name="T1" fmla="*/ 39 h 91"/>
                <a:gd name="T2" fmla="*/ 45 w 90"/>
                <a:gd name="T3" fmla="*/ 0 h 91"/>
                <a:gd name="T4" fmla="*/ 51 w 90"/>
                <a:gd name="T5" fmla="*/ 39 h 91"/>
                <a:gd name="T6" fmla="*/ 90 w 90"/>
                <a:gd name="T7" fmla="*/ 45 h 91"/>
                <a:gd name="T8" fmla="*/ 51 w 90"/>
                <a:gd name="T9" fmla="*/ 51 h 91"/>
                <a:gd name="T10" fmla="*/ 45 w 90"/>
                <a:gd name="T11" fmla="*/ 91 h 91"/>
                <a:gd name="T12" fmla="*/ 38 w 90"/>
                <a:gd name="T13" fmla="*/ 51 h 91"/>
                <a:gd name="T14" fmla="*/ 0 w 90"/>
                <a:gd name="T15" fmla="*/ 44 h 91"/>
                <a:gd name="T16" fmla="*/ 38 w 90"/>
                <a:gd name="T17" fmla="*/ 3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1">
                  <a:moveTo>
                    <a:pt x="38" y="39"/>
                  </a:moveTo>
                  <a:lnTo>
                    <a:pt x="45" y="0"/>
                  </a:lnTo>
                  <a:lnTo>
                    <a:pt x="51" y="39"/>
                  </a:lnTo>
                  <a:lnTo>
                    <a:pt x="90" y="45"/>
                  </a:lnTo>
                  <a:lnTo>
                    <a:pt x="51" y="51"/>
                  </a:lnTo>
                  <a:lnTo>
                    <a:pt x="45" y="91"/>
                  </a:lnTo>
                  <a:lnTo>
                    <a:pt x="38" y="51"/>
                  </a:lnTo>
                  <a:lnTo>
                    <a:pt x="0" y="44"/>
                  </a:lnTo>
                  <a:lnTo>
                    <a:pt x="38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Oval 3226"/>
            <p:cNvSpPr>
              <a:spLocks noChangeArrowheads="1"/>
            </p:cNvSpPr>
            <p:nvPr userDrawn="1"/>
          </p:nvSpPr>
          <p:spPr bwMode="auto">
            <a:xfrm>
              <a:off x="10242795" y="3515560"/>
              <a:ext cx="56267" cy="57606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Oval 3230"/>
            <p:cNvSpPr>
              <a:spLocks noChangeArrowheads="1"/>
            </p:cNvSpPr>
            <p:nvPr userDrawn="1"/>
          </p:nvSpPr>
          <p:spPr bwMode="auto">
            <a:xfrm>
              <a:off x="9043776" y="4267124"/>
              <a:ext cx="56267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任意多边形: 形状 553"/>
            <p:cNvSpPr/>
            <p:nvPr userDrawn="1"/>
          </p:nvSpPr>
          <p:spPr bwMode="auto">
            <a:xfrm>
              <a:off x="8803021" y="4644902"/>
              <a:ext cx="2379342" cy="2204153"/>
            </a:xfrm>
            <a:custGeom>
              <a:avLst/>
              <a:gdLst>
                <a:gd name="connsiteX0" fmla="*/ 124237 w 2590514"/>
                <a:gd name="connsiteY0" fmla="*/ 0 h 2399776"/>
                <a:gd name="connsiteX1" fmla="*/ 2544816 w 2590514"/>
                <a:gd name="connsiteY1" fmla="*/ 2355559 h 2399776"/>
                <a:gd name="connsiteX2" fmla="*/ 2590514 w 2590514"/>
                <a:gd name="connsiteY2" fmla="*/ 2399776 h 2399776"/>
                <a:gd name="connsiteX3" fmla="*/ 2217816 w 2590514"/>
                <a:gd name="connsiteY3" fmla="*/ 2399776 h 2399776"/>
                <a:gd name="connsiteX4" fmla="*/ 2202624 w 2590514"/>
                <a:gd name="connsiteY4" fmla="*/ 2384116 h 2399776"/>
                <a:gd name="connsiteX5" fmla="*/ 0 w 2590514"/>
                <a:gd name="connsiteY5" fmla="*/ 121854 h 2399776"/>
                <a:gd name="connsiteX6" fmla="*/ 124237 w 2590514"/>
                <a:gd name="connsiteY6" fmla="*/ 0 h 2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0514" h="2399776">
                  <a:moveTo>
                    <a:pt x="124237" y="0"/>
                  </a:moveTo>
                  <a:cubicBezTo>
                    <a:pt x="702713" y="558312"/>
                    <a:pt x="1828120" y="1661122"/>
                    <a:pt x="2544816" y="2355559"/>
                  </a:cubicBezTo>
                  <a:lnTo>
                    <a:pt x="2590514" y="2399776"/>
                  </a:lnTo>
                  <a:lnTo>
                    <a:pt x="2217816" y="2399776"/>
                  </a:lnTo>
                  <a:lnTo>
                    <a:pt x="2202624" y="2384116"/>
                  </a:lnTo>
                  <a:cubicBezTo>
                    <a:pt x="1508386" y="1669275"/>
                    <a:pt x="519131" y="660087"/>
                    <a:pt x="0" y="121854"/>
                  </a:cubicBezTo>
                  <a:cubicBezTo>
                    <a:pt x="51026" y="90836"/>
                    <a:pt x="90959" y="48742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55" name="任意多边形: 形状 554"/>
            <p:cNvSpPr/>
            <p:nvPr userDrawn="1"/>
          </p:nvSpPr>
          <p:spPr bwMode="auto">
            <a:xfrm>
              <a:off x="8996947" y="4835913"/>
              <a:ext cx="2099776" cy="1993278"/>
            </a:xfrm>
            <a:custGeom>
              <a:avLst/>
              <a:gdLst>
                <a:gd name="connsiteX0" fmla="*/ 70996 w 2286136"/>
                <a:gd name="connsiteY0" fmla="*/ 0 h 2170185"/>
                <a:gd name="connsiteX1" fmla="*/ 2254024 w 2286136"/>
                <a:gd name="connsiteY1" fmla="*/ 2138987 h 2170185"/>
                <a:gd name="connsiteX2" fmla="*/ 2286136 w 2286136"/>
                <a:gd name="connsiteY2" fmla="*/ 2170185 h 2170185"/>
                <a:gd name="connsiteX3" fmla="*/ 2056366 w 2286136"/>
                <a:gd name="connsiteY3" fmla="*/ 2170185 h 2170185"/>
                <a:gd name="connsiteX4" fmla="*/ 2021066 w 2286136"/>
                <a:gd name="connsiteY4" fmla="*/ 2133958 h 2170185"/>
                <a:gd name="connsiteX5" fmla="*/ 0 w 2286136"/>
                <a:gd name="connsiteY5" fmla="*/ 70910 h 2170185"/>
                <a:gd name="connsiteX6" fmla="*/ 70996 w 2286136"/>
                <a:gd name="connsiteY6" fmla="*/ 0 h 2170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136" h="2170185">
                  <a:moveTo>
                    <a:pt x="70996" y="0"/>
                  </a:moveTo>
                  <a:cubicBezTo>
                    <a:pt x="563946" y="479891"/>
                    <a:pt x="1682834" y="1583018"/>
                    <a:pt x="2254024" y="2138987"/>
                  </a:cubicBezTo>
                  <a:lnTo>
                    <a:pt x="2286136" y="2170185"/>
                  </a:lnTo>
                  <a:lnTo>
                    <a:pt x="2056366" y="2170185"/>
                  </a:lnTo>
                  <a:lnTo>
                    <a:pt x="2021066" y="2133958"/>
                  </a:lnTo>
                  <a:cubicBezTo>
                    <a:pt x="1438256" y="1536760"/>
                    <a:pt x="446498" y="532381"/>
                    <a:pt x="0" y="70910"/>
                  </a:cubicBezTo>
                  <a:cubicBezTo>
                    <a:pt x="28842" y="55399"/>
                    <a:pt x="53247" y="31023"/>
                    <a:pt x="70996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56" name="任意多边形: 形状 555"/>
            <p:cNvSpPr/>
            <p:nvPr userDrawn="1"/>
          </p:nvSpPr>
          <p:spPr bwMode="auto">
            <a:xfrm>
              <a:off x="9873261" y="3335536"/>
              <a:ext cx="2317876" cy="2492810"/>
            </a:xfrm>
            <a:custGeom>
              <a:avLst/>
              <a:gdLst>
                <a:gd name="connsiteX0" fmla="*/ 124237 w 2523593"/>
                <a:gd name="connsiteY0" fmla="*/ 0 h 2714051"/>
                <a:gd name="connsiteX1" fmla="*/ 2385331 w 2523593"/>
                <a:gd name="connsiteY1" fmla="*/ 2200432 h 2714051"/>
                <a:gd name="connsiteX2" fmla="*/ 2523593 w 2523593"/>
                <a:gd name="connsiteY2" fmla="*/ 2334319 h 2714051"/>
                <a:gd name="connsiteX3" fmla="*/ 2523593 w 2523593"/>
                <a:gd name="connsiteY3" fmla="*/ 2714051 h 2714051"/>
                <a:gd name="connsiteX4" fmla="*/ 2499309 w 2523593"/>
                <a:gd name="connsiteY4" fmla="*/ 2688868 h 2714051"/>
                <a:gd name="connsiteX5" fmla="*/ 0 w 2523593"/>
                <a:gd name="connsiteY5" fmla="*/ 124000 h 2714051"/>
                <a:gd name="connsiteX6" fmla="*/ 124237 w 2523593"/>
                <a:gd name="connsiteY6" fmla="*/ 0 h 27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593" h="2714051">
                  <a:moveTo>
                    <a:pt x="124237" y="0"/>
                  </a:moveTo>
                  <a:cubicBezTo>
                    <a:pt x="661393" y="518141"/>
                    <a:pt x="1670139" y="1506971"/>
                    <a:pt x="2385331" y="2200432"/>
                  </a:cubicBezTo>
                  <a:lnTo>
                    <a:pt x="2523593" y="2334319"/>
                  </a:lnTo>
                  <a:lnTo>
                    <a:pt x="2523593" y="2714051"/>
                  </a:lnTo>
                  <a:lnTo>
                    <a:pt x="2499309" y="2688868"/>
                  </a:lnTo>
                  <a:cubicBezTo>
                    <a:pt x="1823901" y="1990090"/>
                    <a:pt x="598997" y="744689"/>
                    <a:pt x="0" y="124000"/>
                  </a:cubicBezTo>
                  <a:cubicBezTo>
                    <a:pt x="51026" y="90785"/>
                    <a:pt x="90959" y="50928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57" name="任意多边形: 形状 556"/>
            <p:cNvSpPr/>
            <p:nvPr userDrawn="1"/>
          </p:nvSpPr>
          <p:spPr bwMode="auto">
            <a:xfrm>
              <a:off x="10064270" y="3528003"/>
              <a:ext cx="2126216" cy="2166724"/>
            </a:xfrm>
            <a:custGeom>
              <a:avLst/>
              <a:gdLst>
                <a:gd name="connsiteX0" fmla="*/ 73194 w 2314922"/>
                <a:gd name="connsiteY0" fmla="*/ 0 h 2359025"/>
                <a:gd name="connsiteX1" fmla="*/ 2255640 w 2314922"/>
                <a:gd name="connsiteY1" fmla="*/ 2138094 h 2359025"/>
                <a:gd name="connsiteX2" fmla="*/ 2314922 w 2314922"/>
                <a:gd name="connsiteY2" fmla="*/ 2195692 h 2359025"/>
                <a:gd name="connsiteX3" fmla="*/ 2314922 w 2314922"/>
                <a:gd name="connsiteY3" fmla="*/ 2302624 h 2359025"/>
                <a:gd name="connsiteX4" fmla="*/ 2310908 w 2314922"/>
                <a:gd name="connsiteY4" fmla="*/ 2307802 h 2359025"/>
                <a:gd name="connsiteX5" fmla="*/ 2244644 w 2314922"/>
                <a:gd name="connsiteY5" fmla="*/ 2359025 h 2359025"/>
                <a:gd name="connsiteX6" fmla="*/ 0 w 2314922"/>
                <a:gd name="connsiteY6" fmla="*/ 70882 h 2359025"/>
                <a:gd name="connsiteX7" fmla="*/ 73194 w 2314922"/>
                <a:gd name="connsiteY7" fmla="*/ 0 h 235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4922" h="2359025">
                  <a:moveTo>
                    <a:pt x="73194" y="0"/>
                  </a:moveTo>
                  <a:cubicBezTo>
                    <a:pt x="566014" y="477620"/>
                    <a:pt x="1684602" y="1582115"/>
                    <a:pt x="2255640" y="2138094"/>
                  </a:cubicBezTo>
                  <a:lnTo>
                    <a:pt x="2314922" y="2195692"/>
                  </a:lnTo>
                  <a:lnTo>
                    <a:pt x="2314922" y="2302624"/>
                  </a:lnTo>
                  <a:lnTo>
                    <a:pt x="2310908" y="2307802"/>
                  </a:lnTo>
                  <a:cubicBezTo>
                    <a:pt x="2291224" y="2327461"/>
                    <a:pt x="2269042" y="2344627"/>
                    <a:pt x="2244644" y="2359025"/>
                  </a:cubicBezTo>
                  <a:cubicBezTo>
                    <a:pt x="1734498" y="1834059"/>
                    <a:pt x="512364" y="595848"/>
                    <a:pt x="0" y="70882"/>
                  </a:cubicBezTo>
                  <a:cubicBezTo>
                    <a:pt x="31052" y="53161"/>
                    <a:pt x="55450" y="28796"/>
                    <a:pt x="73194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58" name="Freeform 3238"/>
            <p:cNvSpPr/>
            <p:nvPr userDrawn="1"/>
          </p:nvSpPr>
          <p:spPr bwMode="auto">
            <a:xfrm>
              <a:off x="8024400" y="2657522"/>
              <a:ext cx="3987879" cy="4043289"/>
            </a:xfrm>
            <a:custGeom>
              <a:avLst/>
              <a:gdLst>
                <a:gd name="T0" fmla="*/ 1415 w 1957"/>
                <a:gd name="T1" fmla="*/ 1800 h 1987"/>
                <a:gd name="T2" fmla="*/ 1377 w 1957"/>
                <a:gd name="T3" fmla="*/ 1773 h 1987"/>
                <a:gd name="T4" fmla="*/ 1337 w 1957"/>
                <a:gd name="T5" fmla="*/ 1654 h 1987"/>
                <a:gd name="T6" fmla="*/ 1160 w 1957"/>
                <a:gd name="T7" fmla="*/ 1634 h 1987"/>
                <a:gd name="T8" fmla="*/ 1122 w 1957"/>
                <a:gd name="T9" fmla="*/ 1499 h 1987"/>
                <a:gd name="T10" fmla="*/ 1106 w 1957"/>
                <a:gd name="T11" fmla="*/ 1486 h 1987"/>
                <a:gd name="T12" fmla="*/ 1080 w 1957"/>
                <a:gd name="T13" fmla="*/ 1385 h 1987"/>
                <a:gd name="T14" fmla="*/ 956 w 1957"/>
                <a:gd name="T15" fmla="*/ 1346 h 1987"/>
                <a:gd name="T16" fmla="*/ 914 w 1957"/>
                <a:gd name="T17" fmla="*/ 1247 h 1987"/>
                <a:gd name="T18" fmla="*/ 876 w 1957"/>
                <a:gd name="T19" fmla="*/ 1223 h 1987"/>
                <a:gd name="T20" fmla="*/ 857 w 1957"/>
                <a:gd name="T21" fmla="*/ 1196 h 1987"/>
                <a:gd name="T22" fmla="*/ 771 w 1957"/>
                <a:gd name="T23" fmla="*/ 1156 h 1987"/>
                <a:gd name="T24" fmla="*/ 745 w 1957"/>
                <a:gd name="T25" fmla="*/ 991 h 1987"/>
                <a:gd name="T26" fmla="*/ 694 w 1957"/>
                <a:gd name="T27" fmla="*/ 963 h 1987"/>
                <a:gd name="T28" fmla="*/ 664 w 1957"/>
                <a:gd name="T29" fmla="*/ 889 h 1987"/>
                <a:gd name="T30" fmla="*/ 561 w 1957"/>
                <a:gd name="T31" fmla="*/ 864 h 1987"/>
                <a:gd name="T32" fmla="*/ 541 w 1957"/>
                <a:gd name="T33" fmla="*/ 746 h 1987"/>
                <a:gd name="T34" fmla="*/ 0 w 1957"/>
                <a:gd name="T35" fmla="*/ 168 h 1987"/>
                <a:gd name="T36" fmla="*/ 169 w 1957"/>
                <a:gd name="T37" fmla="*/ 0 h 1987"/>
                <a:gd name="T38" fmla="*/ 812 w 1957"/>
                <a:gd name="T39" fmla="*/ 603 h 1987"/>
                <a:gd name="T40" fmla="*/ 928 w 1957"/>
                <a:gd name="T41" fmla="*/ 622 h 1987"/>
                <a:gd name="T42" fmla="*/ 957 w 1957"/>
                <a:gd name="T43" fmla="*/ 712 h 1987"/>
                <a:gd name="T44" fmla="*/ 1049 w 1957"/>
                <a:gd name="T45" fmla="*/ 753 h 1987"/>
                <a:gd name="T46" fmla="*/ 1088 w 1957"/>
                <a:gd name="T47" fmla="*/ 830 h 1987"/>
                <a:gd name="T48" fmla="*/ 1236 w 1957"/>
                <a:gd name="T49" fmla="*/ 863 h 1987"/>
                <a:gd name="T50" fmla="*/ 1275 w 1957"/>
                <a:gd name="T51" fmla="*/ 994 h 1987"/>
                <a:gd name="T52" fmla="*/ 1418 w 1957"/>
                <a:gd name="T53" fmla="*/ 1028 h 1987"/>
                <a:gd name="T54" fmla="*/ 1458 w 1957"/>
                <a:gd name="T55" fmla="*/ 1142 h 1987"/>
                <a:gd name="T56" fmla="*/ 1526 w 1957"/>
                <a:gd name="T57" fmla="*/ 1179 h 1987"/>
                <a:gd name="T58" fmla="*/ 1553 w 1957"/>
                <a:gd name="T59" fmla="*/ 1218 h 1987"/>
                <a:gd name="T60" fmla="*/ 1713 w 1957"/>
                <a:gd name="T61" fmla="*/ 1247 h 1987"/>
                <a:gd name="T62" fmla="*/ 1755 w 1957"/>
                <a:gd name="T63" fmla="*/ 1345 h 1987"/>
                <a:gd name="T64" fmla="*/ 1813 w 1957"/>
                <a:gd name="T65" fmla="*/ 1373 h 1987"/>
                <a:gd name="T66" fmla="*/ 1843 w 1957"/>
                <a:gd name="T67" fmla="*/ 1437 h 1987"/>
                <a:gd name="T68" fmla="*/ 1917 w 1957"/>
                <a:gd name="T69" fmla="*/ 1466 h 1987"/>
                <a:gd name="T70" fmla="*/ 1917 w 1957"/>
                <a:gd name="T71" fmla="*/ 1612 h 1987"/>
                <a:gd name="T72" fmla="*/ 1902 w 1957"/>
                <a:gd name="T73" fmla="*/ 1624 h 1987"/>
                <a:gd name="T74" fmla="*/ 1909 w 1957"/>
                <a:gd name="T75" fmla="*/ 1631 h 1987"/>
                <a:gd name="T76" fmla="*/ 1694 w 1957"/>
                <a:gd name="T77" fmla="*/ 1857 h 1987"/>
                <a:gd name="T78" fmla="*/ 1655 w 1957"/>
                <a:gd name="T79" fmla="*/ 1931 h 1987"/>
                <a:gd name="T80" fmla="*/ 1453 w 1957"/>
                <a:gd name="T81" fmla="*/ 1931 h 1987"/>
                <a:gd name="T82" fmla="*/ 1415 w 1957"/>
                <a:gd name="T83" fmla="*/ 1800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57" h="1987">
                  <a:moveTo>
                    <a:pt x="1415" y="1800"/>
                  </a:moveTo>
                  <a:cubicBezTo>
                    <a:pt x="1401" y="1793"/>
                    <a:pt x="1388" y="1784"/>
                    <a:pt x="1377" y="1773"/>
                  </a:cubicBezTo>
                  <a:cubicBezTo>
                    <a:pt x="1344" y="1741"/>
                    <a:pt x="1331" y="1696"/>
                    <a:pt x="1337" y="1654"/>
                  </a:cubicBezTo>
                  <a:cubicBezTo>
                    <a:pt x="1281" y="1689"/>
                    <a:pt x="1208" y="1682"/>
                    <a:pt x="1160" y="1634"/>
                  </a:cubicBezTo>
                  <a:cubicBezTo>
                    <a:pt x="1123" y="1598"/>
                    <a:pt x="1111" y="1546"/>
                    <a:pt x="1122" y="1499"/>
                  </a:cubicBezTo>
                  <a:cubicBezTo>
                    <a:pt x="1117" y="1496"/>
                    <a:pt x="1111" y="1491"/>
                    <a:pt x="1106" y="1486"/>
                  </a:cubicBezTo>
                  <a:cubicBezTo>
                    <a:pt x="1079" y="1459"/>
                    <a:pt x="1070" y="1420"/>
                    <a:pt x="1080" y="1385"/>
                  </a:cubicBezTo>
                  <a:cubicBezTo>
                    <a:pt x="1036" y="1392"/>
                    <a:pt x="990" y="1380"/>
                    <a:pt x="956" y="1346"/>
                  </a:cubicBezTo>
                  <a:cubicBezTo>
                    <a:pt x="928" y="1318"/>
                    <a:pt x="915" y="1283"/>
                    <a:pt x="914" y="1247"/>
                  </a:cubicBezTo>
                  <a:cubicBezTo>
                    <a:pt x="900" y="1242"/>
                    <a:pt x="887" y="1234"/>
                    <a:pt x="876" y="1223"/>
                  </a:cubicBezTo>
                  <a:cubicBezTo>
                    <a:pt x="868" y="1215"/>
                    <a:pt x="862" y="1206"/>
                    <a:pt x="857" y="1196"/>
                  </a:cubicBezTo>
                  <a:cubicBezTo>
                    <a:pt x="826" y="1193"/>
                    <a:pt x="795" y="1180"/>
                    <a:pt x="771" y="1156"/>
                  </a:cubicBezTo>
                  <a:cubicBezTo>
                    <a:pt x="726" y="1111"/>
                    <a:pt x="718" y="1044"/>
                    <a:pt x="745" y="991"/>
                  </a:cubicBezTo>
                  <a:cubicBezTo>
                    <a:pt x="726" y="987"/>
                    <a:pt x="709" y="977"/>
                    <a:pt x="694" y="963"/>
                  </a:cubicBezTo>
                  <a:cubicBezTo>
                    <a:pt x="674" y="942"/>
                    <a:pt x="664" y="916"/>
                    <a:pt x="664" y="889"/>
                  </a:cubicBezTo>
                  <a:cubicBezTo>
                    <a:pt x="629" y="900"/>
                    <a:pt x="589" y="892"/>
                    <a:pt x="561" y="864"/>
                  </a:cubicBezTo>
                  <a:cubicBezTo>
                    <a:pt x="529" y="832"/>
                    <a:pt x="523" y="785"/>
                    <a:pt x="541" y="746"/>
                  </a:cubicBezTo>
                  <a:cubicBezTo>
                    <a:pt x="361" y="554"/>
                    <a:pt x="181" y="361"/>
                    <a:pt x="0" y="168"/>
                  </a:cubicBezTo>
                  <a:cubicBezTo>
                    <a:pt x="63" y="119"/>
                    <a:pt x="120" y="63"/>
                    <a:pt x="169" y="0"/>
                  </a:cubicBezTo>
                  <a:cubicBezTo>
                    <a:pt x="383" y="201"/>
                    <a:pt x="598" y="402"/>
                    <a:pt x="812" y="603"/>
                  </a:cubicBezTo>
                  <a:cubicBezTo>
                    <a:pt x="850" y="585"/>
                    <a:pt x="897" y="591"/>
                    <a:pt x="928" y="622"/>
                  </a:cubicBezTo>
                  <a:cubicBezTo>
                    <a:pt x="953" y="647"/>
                    <a:pt x="962" y="681"/>
                    <a:pt x="957" y="712"/>
                  </a:cubicBezTo>
                  <a:cubicBezTo>
                    <a:pt x="990" y="715"/>
                    <a:pt x="1023" y="728"/>
                    <a:pt x="1049" y="753"/>
                  </a:cubicBezTo>
                  <a:cubicBezTo>
                    <a:pt x="1070" y="775"/>
                    <a:pt x="1083" y="802"/>
                    <a:pt x="1088" y="830"/>
                  </a:cubicBezTo>
                  <a:cubicBezTo>
                    <a:pt x="1138" y="812"/>
                    <a:pt x="1196" y="823"/>
                    <a:pt x="1236" y="863"/>
                  </a:cubicBezTo>
                  <a:cubicBezTo>
                    <a:pt x="1272" y="898"/>
                    <a:pt x="1284" y="948"/>
                    <a:pt x="1275" y="994"/>
                  </a:cubicBezTo>
                  <a:cubicBezTo>
                    <a:pt x="1324" y="978"/>
                    <a:pt x="1379" y="990"/>
                    <a:pt x="1418" y="1028"/>
                  </a:cubicBezTo>
                  <a:cubicBezTo>
                    <a:pt x="1449" y="1059"/>
                    <a:pt x="1462" y="1101"/>
                    <a:pt x="1458" y="1142"/>
                  </a:cubicBezTo>
                  <a:cubicBezTo>
                    <a:pt x="1483" y="1148"/>
                    <a:pt x="1506" y="1160"/>
                    <a:pt x="1526" y="1179"/>
                  </a:cubicBezTo>
                  <a:cubicBezTo>
                    <a:pt x="1537" y="1191"/>
                    <a:pt x="1546" y="1204"/>
                    <a:pt x="1553" y="1218"/>
                  </a:cubicBezTo>
                  <a:cubicBezTo>
                    <a:pt x="1606" y="1194"/>
                    <a:pt x="1670" y="1203"/>
                    <a:pt x="1713" y="1247"/>
                  </a:cubicBezTo>
                  <a:cubicBezTo>
                    <a:pt x="1740" y="1274"/>
                    <a:pt x="1754" y="1309"/>
                    <a:pt x="1755" y="1345"/>
                  </a:cubicBezTo>
                  <a:cubicBezTo>
                    <a:pt x="1776" y="1348"/>
                    <a:pt x="1797" y="1357"/>
                    <a:pt x="1813" y="1373"/>
                  </a:cubicBezTo>
                  <a:cubicBezTo>
                    <a:pt x="1831" y="1391"/>
                    <a:pt x="1841" y="1414"/>
                    <a:pt x="1843" y="1437"/>
                  </a:cubicBezTo>
                  <a:cubicBezTo>
                    <a:pt x="1870" y="1436"/>
                    <a:pt x="1897" y="1446"/>
                    <a:pt x="1917" y="1466"/>
                  </a:cubicBezTo>
                  <a:cubicBezTo>
                    <a:pt x="1957" y="1507"/>
                    <a:pt x="1957" y="1572"/>
                    <a:pt x="1917" y="1612"/>
                  </a:cubicBezTo>
                  <a:cubicBezTo>
                    <a:pt x="1912" y="1617"/>
                    <a:pt x="1907" y="1621"/>
                    <a:pt x="1902" y="1624"/>
                  </a:cubicBezTo>
                  <a:cubicBezTo>
                    <a:pt x="1904" y="1627"/>
                    <a:pt x="1907" y="1629"/>
                    <a:pt x="1909" y="1631"/>
                  </a:cubicBezTo>
                  <a:cubicBezTo>
                    <a:pt x="1844" y="1714"/>
                    <a:pt x="1772" y="1789"/>
                    <a:pt x="1694" y="1857"/>
                  </a:cubicBezTo>
                  <a:cubicBezTo>
                    <a:pt x="1689" y="1884"/>
                    <a:pt x="1676" y="1910"/>
                    <a:pt x="1655" y="1931"/>
                  </a:cubicBezTo>
                  <a:cubicBezTo>
                    <a:pt x="1599" y="1987"/>
                    <a:pt x="1508" y="1987"/>
                    <a:pt x="1453" y="1931"/>
                  </a:cubicBezTo>
                  <a:cubicBezTo>
                    <a:pt x="1417" y="1895"/>
                    <a:pt x="1404" y="1846"/>
                    <a:pt x="1415" y="1800"/>
                  </a:cubicBezTo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Freeform 3239"/>
            <p:cNvSpPr/>
            <p:nvPr userDrawn="1"/>
          </p:nvSpPr>
          <p:spPr bwMode="auto">
            <a:xfrm>
              <a:off x="8609095" y="3259715"/>
              <a:ext cx="3201968" cy="3153853"/>
            </a:xfrm>
            <a:custGeom>
              <a:avLst/>
              <a:gdLst>
                <a:gd name="T0" fmla="*/ 1423 w 1571"/>
                <a:gd name="T1" fmla="*/ 1120 h 1550"/>
                <a:gd name="T2" fmla="*/ 1402 w 1571"/>
                <a:gd name="T3" fmla="*/ 1090 h 1550"/>
                <a:gd name="T4" fmla="*/ 1307 w 1571"/>
                <a:gd name="T5" fmla="*/ 1058 h 1550"/>
                <a:gd name="T6" fmla="*/ 1292 w 1571"/>
                <a:gd name="T7" fmla="*/ 918 h 1550"/>
                <a:gd name="T8" fmla="*/ 1185 w 1571"/>
                <a:gd name="T9" fmla="*/ 889 h 1550"/>
                <a:gd name="T10" fmla="*/ 1175 w 1571"/>
                <a:gd name="T11" fmla="*/ 876 h 1550"/>
                <a:gd name="T12" fmla="*/ 1095 w 1571"/>
                <a:gd name="T13" fmla="*/ 855 h 1550"/>
                <a:gd name="T14" fmla="*/ 1064 w 1571"/>
                <a:gd name="T15" fmla="*/ 757 h 1550"/>
                <a:gd name="T16" fmla="*/ 986 w 1571"/>
                <a:gd name="T17" fmla="*/ 724 h 1550"/>
                <a:gd name="T18" fmla="*/ 967 w 1571"/>
                <a:gd name="T19" fmla="*/ 694 h 1550"/>
                <a:gd name="T20" fmla="*/ 946 w 1571"/>
                <a:gd name="T21" fmla="*/ 679 h 1550"/>
                <a:gd name="T22" fmla="*/ 914 w 1571"/>
                <a:gd name="T23" fmla="*/ 610 h 1550"/>
                <a:gd name="T24" fmla="*/ 783 w 1571"/>
                <a:gd name="T25" fmla="*/ 590 h 1550"/>
                <a:gd name="T26" fmla="*/ 761 w 1571"/>
                <a:gd name="T27" fmla="*/ 549 h 1550"/>
                <a:gd name="T28" fmla="*/ 703 w 1571"/>
                <a:gd name="T29" fmla="*/ 526 h 1550"/>
                <a:gd name="T30" fmla="*/ 683 w 1571"/>
                <a:gd name="T31" fmla="*/ 444 h 1550"/>
                <a:gd name="T32" fmla="*/ 590 w 1571"/>
                <a:gd name="T33" fmla="*/ 429 h 1550"/>
                <a:gd name="T34" fmla="*/ 133 w 1571"/>
                <a:gd name="T35" fmla="*/ 0 h 1550"/>
                <a:gd name="T36" fmla="*/ 0 w 1571"/>
                <a:gd name="T37" fmla="*/ 134 h 1550"/>
                <a:gd name="T38" fmla="*/ 476 w 1571"/>
                <a:gd name="T39" fmla="*/ 643 h 1550"/>
                <a:gd name="T40" fmla="*/ 492 w 1571"/>
                <a:gd name="T41" fmla="*/ 735 h 1550"/>
                <a:gd name="T42" fmla="*/ 563 w 1571"/>
                <a:gd name="T43" fmla="*/ 758 h 1550"/>
                <a:gd name="T44" fmla="*/ 595 w 1571"/>
                <a:gd name="T45" fmla="*/ 830 h 1550"/>
                <a:gd name="T46" fmla="*/ 656 w 1571"/>
                <a:gd name="T47" fmla="*/ 861 h 1550"/>
                <a:gd name="T48" fmla="*/ 682 w 1571"/>
                <a:gd name="T49" fmla="*/ 979 h 1550"/>
                <a:gd name="T50" fmla="*/ 785 w 1571"/>
                <a:gd name="T51" fmla="*/ 1009 h 1550"/>
                <a:gd name="T52" fmla="*/ 813 w 1571"/>
                <a:gd name="T53" fmla="*/ 1123 h 1550"/>
                <a:gd name="T54" fmla="*/ 903 w 1571"/>
                <a:gd name="T55" fmla="*/ 1155 h 1550"/>
                <a:gd name="T56" fmla="*/ 932 w 1571"/>
                <a:gd name="T57" fmla="*/ 1208 h 1550"/>
                <a:gd name="T58" fmla="*/ 963 w 1571"/>
                <a:gd name="T59" fmla="*/ 1230 h 1550"/>
                <a:gd name="T60" fmla="*/ 986 w 1571"/>
                <a:gd name="T61" fmla="*/ 1356 h 1550"/>
                <a:gd name="T62" fmla="*/ 1063 w 1571"/>
                <a:gd name="T63" fmla="*/ 1389 h 1550"/>
                <a:gd name="T64" fmla="*/ 1086 w 1571"/>
                <a:gd name="T65" fmla="*/ 1436 h 1550"/>
                <a:gd name="T66" fmla="*/ 1136 w 1571"/>
                <a:gd name="T67" fmla="*/ 1459 h 1550"/>
                <a:gd name="T68" fmla="*/ 1159 w 1571"/>
                <a:gd name="T69" fmla="*/ 1518 h 1550"/>
                <a:gd name="T70" fmla="*/ 1274 w 1571"/>
                <a:gd name="T71" fmla="*/ 1518 h 1550"/>
                <a:gd name="T72" fmla="*/ 1284 w 1571"/>
                <a:gd name="T73" fmla="*/ 1506 h 1550"/>
                <a:gd name="T74" fmla="*/ 1289 w 1571"/>
                <a:gd name="T75" fmla="*/ 1512 h 1550"/>
                <a:gd name="T76" fmla="*/ 1468 w 1571"/>
                <a:gd name="T77" fmla="*/ 1341 h 1550"/>
                <a:gd name="T78" fmla="*/ 1527 w 1571"/>
                <a:gd name="T79" fmla="*/ 1310 h 1550"/>
                <a:gd name="T80" fmla="*/ 1527 w 1571"/>
                <a:gd name="T81" fmla="*/ 1150 h 1550"/>
                <a:gd name="T82" fmla="*/ 1423 w 1571"/>
                <a:gd name="T83" fmla="*/ 112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1" h="1550">
                  <a:moveTo>
                    <a:pt x="1423" y="1120"/>
                  </a:moveTo>
                  <a:cubicBezTo>
                    <a:pt x="1417" y="1109"/>
                    <a:pt x="1411" y="1099"/>
                    <a:pt x="1402" y="1090"/>
                  </a:cubicBezTo>
                  <a:cubicBezTo>
                    <a:pt x="1376" y="1064"/>
                    <a:pt x="1341" y="1054"/>
                    <a:pt x="1307" y="1058"/>
                  </a:cubicBezTo>
                  <a:cubicBezTo>
                    <a:pt x="1335" y="1015"/>
                    <a:pt x="1330" y="956"/>
                    <a:pt x="1292" y="918"/>
                  </a:cubicBezTo>
                  <a:cubicBezTo>
                    <a:pt x="1263" y="889"/>
                    <a:pt x="1222" y="880"/>
                    <a:pt x="1185" y="889"/>
                  </a:cubicBezTo>
                  <a:cubicBezTo>
                    <a:pt x="1182" y="884"/>
                    <a:pt x="1179" y="880"/>
                    <a:pt x="1175" y="876"/>
                  </a:cubicBezTo>
                  <a:cubicBezTo>
                    <a:pt x="1153" y="854"/>
                    <a:pt x="1122" y="848"/>
                    <a:pt x="1095" y="855"/>
                  </a:cubicBezTo>
                  <a:cubicBezTo>
                    <a:pt x="1101" y="821"/>
                    <a:pt x="1091" y="784"/>
                    <a:pt x="1064" y="757"/>
                  </a:cubicBezTo>
                  <a:cubicBezTo>
                    <a:pt x="1042" y="735"/>
                    <a:pt x="1014" y="724"/>
                    <a:pt x="986" y="724"/>
                  </a:cubicBezTo>
                  <a:cubicBezTo>
                    <a:pt x="982" y="713"/>
                    <a:pt x="976" y="702"/>
                    <a:pt x="967" y="694"/>
                  </a:cubicBezTo>
                  <a:cubicBezTo>
                    <a:pt x="961" y="687"/>
                    <a:pt x="953" y="683"/>
                    <a:pt x="946" y="679"/>
                  </a:cubicBezTo>
                  <a:cubicBezTo>
                    <a:pt x="943" y="654"/>
                    <a:pt x="933" y="630"/>
                    <a:pt x="914" y="610"/>
                  </a:cubicBezTo>
                  <a:cubicBezTo>
                    <a:pt x="878" y="575"/>
                    <a:pt x="825" y="569"/>
                    <a:pt x="783" y="590"/>
                  </a:cubicBezTo>
                  <a:cubicBezTo>
                    <a:pt x="780" y="575"/>
                    <a:pt x="773" y="561"/>
                    <a:pt x="761" y="549"/>
                  </a:cubicBezTo>
                  <a:cubicBezTo>
                    <a:pt x="745" y="533"/>
                    <a:pt x="724" y="525"/>
                    <a:pt x="703" y="526"/>
                  </a:cubicBezTo>
                  <a:cubicBezTo>
                    <a:pt x="711" y="498"/>
                    <a:pt x="705" y="466"/>
                    <a:pt x="683" y="444"/>
                  </a:cubicBezTo>
                  <a:cubicBezTo>
                    <a:pt x="658" y="419"/>
                    <a:pt x="620" y="414"/>
                    <a:pt x="590" y="429"/>
                  </a:cubicBezTo>
                  <a:cubicBezTo>
                    <a:pt x="438" y="286"/>
                    <a:pt x="285" y="143"/>
                    <a:pt x="133" y="0"/>
                  </a:cubicBezTo>
                  <a:cubicBezTo>
                    <a:pt x="94" y="50"/>
                    <a:pt x="49" y="95"/>
                    <a:pt x="0" y="134"/>
                  </a:cubicBezTo>
                  <a:cubicBezTo>
                    <a:pt x="159" y="303"/>
                    <a:pt x="317" y="473"/>
                    <a:pt x="476" y="643"/>
                  </a:cubicBezTo>
                  <a:cubicBezTo>
                    <a:pt x="462" y="673"/>
                    <a:pt x="467" y="710"/>
                    <a:pt x="492" y="735"/>
                  </a:cubicBezTo>
                  <a:cubicBezTo>
                    <a:pt x="511" y="755"/>
                    <a:pt x="538" y="762"/>
                    <a:pt x="563" y="758"/>
                  </a:cubicBezTo>
                  <a:cubicBezTo>
                    <a:pt x="565" y="784"/>
                    <a:pt x="575" y="810"/>
                    <a:pt x="595" y="830"/>
                  </a:cubicBezTo>
                  <a:cubicBezTo>
                    <a:pt x="613" y="847"/>
                    <a:pt x="634" y="858"/>
                    <a:pt x="656" y="861"/>
                  </a:cubicBezTo>
                  <a:cubicBezTo>
                    <a:pt x="642" y="901"/>
                    <a:pt x="650" y="947"/>
                    <a:pt x="682" y="979"/>
                  </a:cubicBezTo>
                  <a:cubicBezTo>
                    <a:pt x="710" y="1007"/>
                    <a:pt x="749" y="1017"/>
                    <a:pt x="785" y="1009"/>
                  </a:cubicBezTo>
                  <a:cubicBezTo>
                    <a:pt x="773" y="1048"/>
                    <a:pt x="782" y="1092"/>
                    <a:pt x="813" y="1123"/>
                  </a:cubicBezTo>
                  <a:cubicBezTo>
                    <a:pt x="838" y="1147"/>
                    <a:pt x="871" y="1158"/>
                    <a:pt x="903" y="1155"/>
                  </a:cubicBezTo>
                  <a:cubicBezTo>
                    <a:pt x="907" y="1174"/>
                    <a:pt x="917" y="1193"/>
                    <a:pt x="932" y="1208"/>
                  </a:cubicBezTo>
                  <a:cubicBezTo>
                    <a:pt x="941" y="1217"/>
                    <a:pt x="952" y="1224"/>
                    <a:pt x="963" y="1230"/>
                  </a:cubicBezTo>
                  <a:cubicBezTo>
                    <a:pt x="944" y="1271"/>
                    <a:pt x="951" y="1322"/>
                    <a:pt x="986" y="1356"/>
                  </a:cubicBezTo>
                  <a:cubicBezTo>
                    <a:pt x="1007" y="1378"/>
                    <a:pt x="1035" y="1389"/>
                    <a:pt x="1063" y="1389"/>
                  </a:cubicBezTo>
                  <a:cubicBezTo>
                    <a:pt x="1065" y="1406"/>
                    <a:pt x="1073" y="1423"/>
                    <a:pt x="1086" y="1436"/>
                  </a:cubicBezTo>
                  <a:cubicBezTo>
                    <a:pt x="1100" y="1450"/>
                    <a:pt x="1117" y="1457"/>
                    <a:pt x="1136" y="1459"/>
                  </a:cubicBezTo>
                  <a:cubicBezTo>
                    <a:pt x="1135" y="1480"/>
                    <a:pt x="1143" y="1502"/>
                    <a:pt x="1159" y="1518"/>
                  </a:cubicBezTo>
                  <a:cubicBezTo>
                    <a:pt x="1191" y="1550"/>
                    <a:pt x="1243" y="1550"/>
                    <a:pt x="1274" y="1518"/>
                  </a:cubicBezTo>
                  <a:cubicBezTo>
                    <a:pt x="1278" y="1514"/>
                    <a:pt x="1281" y="1510"/>
                    <a:pt x="1284" y="1506"/>
                  </a:cubicBezTo>
                  <a:cubicBezTo>
                    <a:pt x="1286" y="1508"/>
                    <a:pt x="1288" y="1510"/>
                    <a:pt x="1289" y="1512"/>
                  </a:cubicBezTo>
                  <a:cubicBezTo>
                    <a:pt x="1355" y="1460"/>
                    <a:pt x="1414" y="1403"/>
                    <a:pt x="1468" y="1341"/>
                  </a:cubicBezTo>
                  <a:cubicBezTo>
                    <a:pt x="1490" y="1337"/>
                    <a:pt x="1510" y="1327"/>
                    <a:pt x="1527" y="1310"/>
                  </a:cubicBezTo>
                  <a:cubicBezTo>
                    <a:pt x="1571" y="1266"/>
                    <a:pt x="1571" y="1194"/>
                    <a:pt x="1527" y="1150"/>
                  </a:cubicBezTo>
                  <a:cubicBezTo>
                    <a:pt x="1498" y="1122"/>
                    <a:pt x="1459" y="1112"/>
                    <a:pt x="1423" y="1120"/>
                  </a:cubicBezTo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Freeform 3240"/>
            <p:cNvSpPr/>
            <p:nvPr userDrawn="1"/>
          </p:nvSpPr>
          <p:spPr bwMode="auto">
            <a:xfrm>
              <a:off x="10131342" y="4418898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Freeform 3241"/>
            <p:cNvSpPr/>
            <p:nvPr userDrawn="1"/>
          </p:nvSpPr>
          <p:spPr bwMode="auto">
            <a:xfrm>
              <a:off x="10097806" y="4417439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4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4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Freeform 3242"/>
            <p:cNvSpPr/>
            <p:nvPr userDrawn="1"/>
          </p:nvSpPr>
          <p:spPr bwMode="auto">
            <a:xfrm>
              <a:off x="10392340" y="4902984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8" y="64"/>
                    <a:pt x="166" y="32"/>
                  </a:cubicBezTo>
                  <a:cubicBezTo>
                    <a:pt x="124" y="0"/>
                    <a:pt x="65" y="7"/>
                    <a:pt x="32" y="49"/>
                  </a:cubicBezTo>
                  <a:cubicBezTo>
                    <a:pt x="0" y="91"/>
                    <a:pt x="8" y="150"/>
                    <a:pt x="49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3" name="Freeform 3243"/>
            <p:cNvSpPr/>
            <p:nvPr userDrawn="1"/>
          </p:nvSpPr>
          <p:spPr bwMode="auto">
            <a:xfrm>
              <a:off x="10390883" y="4866532"/>
              <a:ext cx="437427" cy="437427"/>
            </a:xfrm>
            <a:custGeom>
              <a:avLst/>
              <a:gdLst>
                <a:gd name="T0" fmla="*/ 182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2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2" y="166"/>
                  </a:moveTo>
                  <a:cubicBezTo>
                    <a:pt x="215" y="125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7" y="151"/>
                    <a:pt x="49" y="183"/>
                  </a:cubicBezTo>
                  <a:cubicBezTo>
                    <a:pt x="90" y="215"/>
                    <a:pt x="150" y="208"/>
                    <a:pt x="182" y="16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4" name="Freeform 3244"/>
            <p:cNvSpPr/>
            <p:nvPr userDrawn="1"/>
          </p:nvSpPr>
          <p:spPr bwMode="auto">
            <a:xfrm>
              <a:off x="10500239" y="5643695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8" y="151"/>
                    <a:pt x="49" y="183"/>
                  </a:cubicBezTo>
                  <a:cubicBezTo>
                    <a:pt x="91" y="215"/>
                    <a:pt x="151" y="208"/>
                    <a:pt x="183" y="166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5" name="Freeform 3245"/>
            <p:cNvSpPr/>
            <p:nvPr userDrawn="1"/>
          </p:nvSpPr>
          <p:spPr bwMode="auto">
            <a:xfrm>
              <a:off x="10495865" y="5610158"/>
              <a:ext cx="440344" cy="437427"/>
            </a:xfrm>
            <a:custGeom>
              <a:avLst/>
              <a:gdLst>
                <a:gd name="T0" fmla="*/ 183 w 216"/>
                <a:gd name="T1" fmla="*/ 166 h 215"/>
                <a:gd name="T2" fmla="*/ 166 w 216"/>
                <a:gd name="T3" fmla="*/ 32 h 215"/>
                <a:gd name="T4" fmla="*/ 33 w 216"/>
                <a:gd name="T5" fmla="*/ 49 h 215"/>
                <a:gd name="T6" fmla="*/ 50 w 216"/>
                <a:gd name="T7" fmla="*/ 183 h 215"/>
                <a:gd name="T8" fmla="*/ 183 w 216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15">
                  <a:moveTo>
                    <a:pt x="183" y="166"/>
                  </a:moveTo>
                  <a:cubicBezTo>
                    <a:pt x="216" y="124"/>
                    <a:pt x="208" y="64"/>
                    <a:pt x="166" y="32"/>
                  </a:cubicBezTo>
                  <a:cubicBezTo>
                    <a:pt x="125" y="0"/>
                    <a:pt x="65" y="7"/>
                    <a:pt x="33" y="49"/>
                  </a:cubicBezTo>
                  <a:cubicBezTo>
                    <a:pt x="0" y="91"/>
                    <a:pt x="8" y="150"/>
                    <a:pt x="50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6" name="Freeform 3246"/>
            <p:cNvSpPr/>
            <p:nvPr userDrawn="1"/>
          </p:nvSpPr>
          <p:spPr bwMode="auto">
            <a:xfrm>
              <a:off x="10847265" y="5980514"/>
              <a:ext cx="425763" cy="427221"/>
            </a:xfrm>
            <a:custGeom>
              <a:avLst/>
              <a:gdLst>
                <a:gd name="T0" fmla="*/ 37 w 209"/>
                <a:gd name="T1" fmla="*/ 38 h 210"/>
                <a:gd name="T2" fmla="*/ 38 w 209"/>
                <a:gd name="T3" fmla="*/ 173 h 210"/>
                <a:gd name="T4" fmla="*/ 172 w 209"/>
                <a:gd name="T5" fmla="*/ 172 h 210"/>
                <a:gd name="T6" fmla="*/ 171 w 209"/>
                <a:gd name="T7" fmla="*/ 37 h 210"/>
                <a:gd name="T8" fmla="*/ 37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37" y="38"/>
                  </a:moveTo>
                  <a:cubicBezTo>
                    <a:pt x="0" y="76"/>
                    <a:pt x="0" y="136"/>
                    <a:pt x="38" y="173"/>
                  </a:cubicBezTo>
                  <a:cubicBezTo>
                    <a:pt x="75" y="210"/>
                    <a:pt x="135" y="210"/>
                    <a:pt x="172" y="172"/>
                  </a:cubicBezTo>
                  <a:cubicBezTo>
                    <a:pt x="209" y="135"/>
                    <a:pt x="209" y="74"/>
                    <a:pt x="171" y="37"/>
                  </a:cubicBezTo>
                  <a:cubicBezTo>
                    <a:pt x="134" y="0"/>
                    <a:pt x="74" y="1"/>
                    <a:pt x="37" y="38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7" name="Freeform 3247"/>
            <p:cNvSpPr/>
            <p:nvPr userDrawn="1"/>
          </p:nvSpPr>
          <p:spPr bwMode="auto">
            <a:xfrm>
              <a:off x="10844348" y="6016966"/>
              <a:ext cx="428679" cy="424305"/>
            </a:xfrm>
            <a:custGeom>
              <a:avLst/>
              <a:gdLst>
                <a:gd name="T0" fmla="*/ 37 w 210"/>
                <a:gd name="T1" fmla="*/ 38 h 209"/>
                <a:gd name="T2" fmla="*/ 38 w 210"/>
                <a:gd name="T3" fmla="*/ 172 h 209"/>
                <a:gd name="T4" fmla="*/ 173 w 210"/>
                <a:gd name="T5" fmla="*/ 172 h 209"/>
                <a:gd name="T6" fmla="*/ 172 w 210"/>
                <a:gd name="T7" fmla="*/ 37 h 209"/>
                <a:gd name="T8" fmla="*/ 37 w 210"/>
                <a:gd name="T9" fmla="*/ 3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209">
                  <a:moveTo>
                    <a:pt x="37" y="38"/>
                  </a:moveTo>
                  <a:cubicBezTo>
                    <a:pt x="0" y="75"/>
                    <a:pt x="1" y="135"/>
                    <a:pt x="38" y="172"/>
                  </a:cubicBezTo>
                  <a:cubicBezTo>
                    <a:pt x="75" y="209"/>
                    <a:pt x="136" y="209"/>
                    <a:pt x="173" y="172"/>
                  </a:cubicBezTo>
                  <a:cubicBezTo>
                    <a:pt x="210" y="134"/>
                    <a:pt x="209" y="74"/>
                    <a:pt x="172" y="37"/>
                  </a:cubicBezTo>
                  <a:cubicBezTo>
                    <a:pt x="134" y="0"/>
                    <a:pt x="74" y="0"/>
                    <a:pt x="37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8" name="Freeform 3248"/>
            <p:cNvSpPr/>
            <p:nvPr userDrawn="1"/>
          </p:nvSpPr>
          <p:spPr bwMode="auto">
            <a:xfrm>
              <a:off x="11073269" y="6081122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9" name="Freeform 3249"/>
            <p:cNvSpPr/>
            <p:nvPr userDrawn="1"/>
          </p:nvSpPr>
          <p:spPr bwMode="auto">
            <a:xfrm>
              <a:off x="11038275" y="6079664"/>
              <a:ext cx="425763" cy="427221"/>
            </a:xfrm>
            <a:custGeom>
              <a:avLst/>
              <a:gdLst>
                <a:gd name="T0" fmla="*/ 172 w 209"/>
                <a:gd name="T1" fmla="*/ 38 h 210"/>
                <a:gd name="T2" fmla="*/ 37 w 209"/>
                <a:gd name="T3" fmla="*/ 38 h 210"/>
                <a:gd name="T4" fmla="*/ 37 w 209"/>
                <a:gd name="T5" fmla="*/ 172 h 210"/>
                <a:gd name="T6" fmla="*/ 172 w 209"/>
                <a:gd name="T7" fmla="*/ 172 h 210"/>
                <a:gd name="T8" fmla="*/ 172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172" y="38"/>
                  </a:moveTo>
                  <a:cubicBezTo>
                    <a:pt x="134" y="0"/>
                    <a:pt x="74" y="0"/>
                    <a:pt x="37" y="38"/>
                  </a:cubicBezTo>
                  <a:cubicBezTo>
                    <a:pt x="0" y="75"/>
                    <a:pt x="0" y="135"/>
                    <a:pt x="37" y="172"/>
                  </a:cubicBezTo>
                  <a:cubicBezTo>
                    <a:pt x="74" y="210"/>
                    <a:pt x="134" y="210"/>
                    <a:pt x="172" y="172"/>
                  </a:cubicBezTo>
                  <a:cubicBezTo>
                    <a:pt x="209" y="135"/>
                    <a:pt x="209" y="75"/>
                    <a:pt x="172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0" name="Freeform 3250"/>
            <p:cNvSpPr/>
            <p:nvPr userDrawn="1"/>
          </p:nvSpPr>
          <p:spPr bwMode="auto">
            <a:xfrm>
              <a:off x="10889550" y="5007967"/>
              <a:ext cx="444717" cy="443260"/>
            </a:xfrm>
            <a:custGeom>
              <a:avLst/>
              <a:gdLst>
                <a:gd name="T0" fmla="*/ 26 w 218"/>
                <a:gd name="T1" fmla="*/ 62 h 218"/>
                <a:gd name="T2" fmla="*/ 61 w 218"/>
                <a:gd name="T3" fmla="*/ 192 h 218"/>
                <a:gd name="T4" fmla="*/ 191 w 218"/>
                <a:gd name="T5" fmla="*/ 157 h 218"/>
                <a:gd name="T6" fmla="*/ 156 w 218"/>
                <a:gd name="T7" fmla="*/ 27 h 218"/>
                <a:gd name="T8" fmla="*/ 26 w 218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8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1" name="Freeform 3251"/>
            <p:cNvSpPr/>
            <p:nvPr userDrawn="1"/>
          </p:nvSpPr>
          <p:spPr bwMode="auto">
            <a:xfrm>
              <a:off x="10898298" y="5041503"/>
              <a:ext cx="441801" cy="443260"/>
            </a:xfrm>
            <a:custGeom>
              <a:avLst/>
              <a:gdLst>
                <a:gd name="T0" fmla="*/ 26 w 217"/>
                <a:gd name="T1" fmla="*/ 62 h 218"/>
                <a:gd name="T2" fmla="*/ 61 w 217"/>
                <a:gd name="T3" fmla="*/ 192 h 218"/>
                <a:gd name="T4" fmla="*/ 191 w 217"/>
                <a:gd name="T5" fmla="*/ 157 h 218"/>
                <a:gd name="T6" fmla="*/ 156 w 217"/>
                <a:gd name="T7" fmla="*/ 27 h 218"/>
                <a:gd name="T8" fmla="*/ 26 w 217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7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2" name="Freeform 3252"/>
            <p:cNvSpPr/>
            <p:nvPr userDrawn="1"/>
          </p:nvSpPr>
          <p:spPr bwMode="auto">
            <a:xfrm>
              <a:off x="9879092" y="491610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59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3" name="Freeform 3253"/>
            <p:cNvSpPr/>
            <p:nvPr userDrawn="1"/>
          </p:nvSpPr>
          <p:spPr bwMode="auto">
            <a:xfrm>
              <a:off x="9914086" y="4910274"/>
              <a:ext cx="441801" cy="440344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4" name="Freeform 3254"/>
            <p:cNvSpPr/>
            <p:nvPr userDrawn="1"/>
          </p:nvSpPr>
          <p:spPr bwMode="auto">
            <a:xfrm>
              <a:off x="10406921" y="5457059"/>
              <a:ext cx="319322" cy="319323"/>
            </a:xfrm>
            <a:custGeom>
              <a:avLst/>
              <a:gdLst>
                <a:gd name="T0" fmla="*/ 40 w 157"/>
                <a:gd name="T1" fmla="*/ 136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40 h 157"/>
                <a:gd name="T8" fmla="*/ 40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6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40"/>
                  </a:cubicBezTo>
                  <a:cubicBezTo>
                    <a:pt x="0" y="71"/>
                    <a:pt x="8" y="114"/>
                    <a:pt x="40" y="13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5" name="Freeform 3255"/>
            <p:cNvSpPr/>
            <p:nvPr userDrawn="1"/>
          </p:nvSpPr>
          <p:spPr bwMode="auto">
            <a:xfrm>
              <a:off x="10433167" y="5452684"/>
              <a:ext cx="319322" cy="322239"/>
            </a:xfrm>
            <a:custGeom>
              <a:avLst/>
              <a:gdLst>
                <a:gd name="T0" fmla="*/ 39 w 157"/>
                <a:gd name="T1" fmla="*/ 136 h 158"/>
                <a:gd name="T2" fmla="*/ 135 w 157"/>
                <a:gd name="T3" fmla="*/ 118 h 158"/>
                <a:gd name="T4" fmla="*/ 117 w 157"/>
                <a:gd name="T5" fmla="*/ 22 h 158"/>
                <a:gd name="T6" fmla="*/ 21 w 157"/>
                <a:gd name="T7" fmla="*/ 40 h 158"/>
                <a:gd name="T8" fmla="*/ 39 w 157"/>
                <a:gd name="T9" fmla="*/ 13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39" y="136"/>
                  </a:moveTo>
                  <a:cubicBezTo>
                    <a:pt x="71" y="158"/>
                    <a:pt x="113" y="150"/>
                    <a:pt x="135" y="118"/>
                  </a:cubicBezTo>
                  <a:cubicBezTo>
                    <a:pt x="157" y="87"/>
                    <a:pt x="149" y="44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6" name="Freeform 3256"/>
            <p:cNvSpPr/>
            <p:nvPr userDrawn="1"/>
          </p:nvSpPr>
          <p:spPr bwMode="auto">
            <a:xfrm>
              <a:off x="9518944" y="4506383"/>
              <a:ext cx="319322" cy="319323"/>
            </a:xfrm>
            <a:custGeom>
              <a:avLst/>
              <a:gdLst>
                <a:gd name="T0" fmla="*/ 40 w 157"/>
                <a:gd name="T1" fmla="*/ 135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39 h 157"/>
                <a:gd name="T8" fmla="*/ 40 w 157"/>
                <a:gd name="T9" fmla="*/ 13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5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39"/>
                  </a:cubicBezTo>
                  <a:cubicBezTo>
                    <a:pt x="0" y="71"/>
                    <a:pt x="8" y="114"/>
                    <a:pt x="40" y="135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7" name="Freeform 3257"/>
            <p:cNvSpPr/>
            <p:nvPr userDrawn="1"/>
          </p:nvSpPr>
          <p:spPr bwMode="auto">
            <a:xfrm>
              <a:off x="9545190" y="4503467"/>
              <a:ext cx="319322" cy="319323"/>
            </a:xfrm>
            <a:custGeom>
              <a:avLst/>
              <a:gdLst>
                <a:gd name="T0" fmla="*/ 39 w 157"/>
                <a:gd name="T1" fmla="*/ 136 h 157"/>
                <a:gd name="T2" fmla="*/ 135 w 157"/>
                <a:gd name="T3" fmla="*/ 118 h 157"/>
                <a:gd name="T4" fmla="*/ 117 w 157"/>
                <a:gd name="T5" fmla="*/ 22 h 157"/>
                <a:gd name="T6" fmla="*/ 21 w 157"/>
                <a:gd name="T7" fmla="*/ 40 h 157"/>
                <a:gd name="T8" fmla="*/ 39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39" y="136"/>
                  </a:moveTo>
                  <a:cubicBezTo>
                    <a:pt x="71" y="157"/>
                    <a:pt x="113" y="149"/>
                    <a:pt x="135" y="118"/>
                  </a:cubicBezTo>
                  <a:cubicBezTo>
                    <a:pt x="157" y="86"/>
                    <a:pt x="149" y="43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8" name="任意多边形: 形状 577"/>
            <p:cNvSpPr/>
            <p:nvPr userDrawn="1"/>
          </p:nvSpPr>
          <p:spPr bwMode="auto">
            <a:xfrm>
              <a:off x="10518301" y="5970052"/>
              <a:ext cx="1115767" cy="880961"/>
            </a:xfrm>
            <a:custGeom>
              <a:avLst/>
              <a:gdLst>
                <a:gd name="connsiteX0" fmla="*/ 607399 w 1214794"/>
                <a:gd name="connsiteY0" fmla="*/ 0 h 959148"/>
                <a:gd name="connsiteX1" fmla="*/ 1036737 w 1214794"/>
                <a:gd name="connsiteY1" fmla="*/ 177764 h 959148"/>
                <a:gd name="connsiteX2" fmla="*/ 1114637 w 1214794"/>
                <a:gd name="connsiteY2" fmla="*/ 941334 h 959148"/>
                <a:gd name="connsiteX3" fmla="*/ 1100165 w 1214794"/>
                <a:gd name="connsiteY3" fmla="*/ 959148 h 959148"/>
                <a:gd name="connsiteX4" fmla="*/ 114629 w 1214794"/>
                <a:gd name="connsiteY4" fmla="*/ 959148 h 959148"/>
                <a:gd name="connsiteX5" fmla="*/ 100159 w 1214794"/>
                <a:gd name="connsiteY5" fmla="*/ 941334 h 959148"/>
                <a:gd name="connsiteX6" fmla="*/ 178059 w 1214794"/>
                <a:gd name="connsiteY6" fmla="*/ 177764 h 959148"/>
                <a:gd name="connsiteX7" fmla="*/ 607399 w 1214794"/>
                <a:gd name="connsiteY7" fmla="*/ 0 h 95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794" h="959148">
                  <a:moveTo>
                    <a:pt x="607399" y="0"/>
                  </a:moveTo>
                  <a:cubicBezTo>
                    <a:pt x="762715" y="0"/>
                    <a:pt x="918031" y="59255"/>
                    <a:pt x="1036737" y="177764"/>
                  </a:cubicBezTo>
                  <a:cubicBezTo>
                    <a:pt x="1244471" y="385154"/>
                    <a:pt x="1270437" y="704477"/>
                    <a:pt x="1114637" y="941334"/>
                  </a:cubicBezTo>
                  <a:lnTo>
                    <a:pt x="1100165" y="959148"/>
                  </a:lnTo>
                  <a:lnTo>
                    <a:pt x="114629" y="959148"/>
                  </a:lnTo>
                  <a:lnTo>
                    <a:pt x="100159" y="941334"/>
                  </a:lnTo>
                  <a:cubicBezTo>
                    <a:pt x="-55643" y="704477"/>
                    <a:pt x="-29677" y="385154"/>
                    <a:pt x="178059" y="177764"/>
                  </a:cubicBezTo>
                  <a:cubicBezTo>
                    <a:pt x="296765" y="59255"/>
                    <a:pt x="452081" y="0"/>
                    <a:pt x="607399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79" name="任意多边形: 形状 578"/>
            <p:cNvSpPr/>
            <p:nvPr userDrawn="1"/>
          </p:nvSpPr>
          <p:spPr bwMode="auto">
            <a:xfrm>
              <a:off x="11393290" y="5382356"/>
              <a:ext cx="804004" cy="1186110"/>
            </a:xfrm>
            <a:custGeom>
              <a:avLst/>
              <a:gdLst>
                <a:gd name="connsiteX0" fmla="*/ 645037 w 875361"/>
                <a:gd name="connsiteY0" fmla="*/ 0 h 1291379"/>
                <a:gd name="connsiteX1" fmla="*/ 768391 w 875361"/>
                <a:gd name="connsiteY1" fmla="*/ 11837 h 1291379"/>
                <a:gd name="connsiteX2" fmla="*/ 875361 w 875361"/>
                <a:gd name="connsiteY2" fmla="*/ 43567 h 1291379"/>
                <a:gd name="connsiteX3" fmla="*/ 875361 w 875361"/>
                <a:gd name="connsiteY3" fmla="*/ 1247813 h 1291379"/>
                <a:gd name="connsiteX4" fmla="*/ 768391 w 875361"/>
                <a:gd name="connsiteY4" fmla="*/ 1279543 h 1291379"/>
                <a:gd name="connsiteX5" fmla="*/ 188021 w 875361"/>
                <a:gd name="connsiteY5" fmla="*/ 1101992 h 1291379"/>
                <a:gd name="connsiteX6" fmla="*/ 188021 w 875361"/>
                <a:gd name="connsiteY6" fmla="*/ 189388 h 1291379"/>
                <a:gd name="connsiteX7" fmla="*/ 645037 w 875361"/>
                <a:gd name="connsiteY7" fmla="*/ 0 h 129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361" h="1291379">
                  <a:moveTo>
                    <a:pt x="645037" y="0"/>
                  </a:moveTo>
                  <a:cubicBezTo>
                    <a:pt x="686357" y="0"/>
                    <a:pt x="727677" y="3946"/>
                    <a:pt x="768391" y="11837"/>
                  </a:cubicBezTo>
                  <a:lnTo>
                    <a:pt x="875361" y="43567"/>
                  </a:lnTo>
                  <a:lnTo>
                    <a:pt x="875361" y="1247813"/>
                  </a:lnTo>
                  <a:lnTo>
                    <a:pt x="768391" y="1279543"/>
                  </a:lnTo>
                  <a:cubicBezTo>
                    <a:pt x="564823" y="1318999"/>
                    <a:pt x="346091" y="1259815"/>
                    <a:pt x="188021" y="1101992"/>
                  </a:cubicBezTo>
                  <a:cubicBezTo>
                    <a:pt x="-62673" y="849476"/>
                    <a:pt x="-62673" y="439690"/>
                    <a:pt x="188021" y="189388"/>
                  </a:cubicBezTo>
                  <a:cubicBezTo>
                    <a:pt x="314477" y="63129"/>
                    <a:pt x="479757" y="0"/>
                    <a:pt x="645037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80" name="Freeform 3261"/>
            <p:cNvSpPr/>
            <p:nvPr userDrawn="1"/>
          </p:nvSpPr>
          <p:spPr bwMode="auto">
            <a:xfrm>
              <a:off x="10444831" y="5462892"/>
              <a:ext cx="876312" cy="873397"/>
            </a:xfrm>
            <a:custGeom>
              <a:avLst/>
              <a:gdLst>
                <a:gd name="T0" fmla="*/ 353 w 430"/>
                <a:gd name="T1" fmla="*/ 76 h 429"/>
                <a:gd name="T2" fmla="*/ 77 w 430"/>
                <a:gd name="T3" fmla="*/ 76 h 429"/>
                <a:gd name="T4" fmla="*/ 77 w 430"/>
                <a:gd name="T5" fmla="*/ 353 h 429"/>
                <a:gd name="T6" fmla="*/ 353 w 430"/>
                <a:gd name="T7" fmla="*/ 353 h 429"/>
                <a:gd name="T8" fmla="*/ 353 w 430"/>
                <a:gd name="T9" fmla="*/ 7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429">
                  <a:moveTo>
                    <a:pt x="353" y="76"/>
                  </a:moveTo>
                  <a:cubicBezTo>
                    <a:pt x="277" y="0"/>
                    <a:pt x="153" y="0"/>
                    <a:pt x="77" y="76"/>
                  </a:cubicBezTo>
                  <a:cubicBezTo>
                    <a:pt x="0" y="152"/>
                    <a:pt x="0" y="276"/>
                    <a:pt x="77" y="353"/>
                  </a:cubicBezTo>
                  <a:cubicBezTo>
                    <a:pt x="153" y="429"/>
                    <a:pt x="277" y="429"/>
                    <a:pt x="353" y="353"/>
                  </a:cubicBezTo>
                  <a:cubicBezTo>
                    <a:pt x="430" y="276"/>
                    <a:pt x="430" y="152"/>
                    <a:pt x="353" y="7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1" name="Freeform 3262"/>
            <p:cNvSpPr/>
            <p:nvPr userDrawn="1"/>
          </p:nvSpPr>
          <p:spPr bwMode="auto">
            <a:xfrm>
              <a:off x="11074727" y="5725348"/>
              <a:ext cx="1038161" cy="1035245"/>
            </a:xfrm>
            <a:custGeom>
              <a:avLst/>
              <a:gdLst>
                <a:gd name="T0" fmla="*/ 425 w 509"/>
                <a:gd name="T1" fmla="*/ 101 h 509"/>
                <a:gd name="T2" fmla="*/ 101 w 509"/>
                <a:gd name="T3" fmla="*/ 85 h 509"/>
                <a:gd name="T4" fmla="*/ 85 w 509"/>
                <a:gd name="T5" fmla="*/ 408 h 509"/>
                <a:gd name="T6" fmla="*/ 408 w 509"/>
                <a:gd name="T7" fmla="*/ 425 h 509"/>
                <a:gd name="T8" fmla="*/ 425 w 509"/>
                <a:gd name="T9" fmla="*/ 10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" h="509">
                  <a:moveTo>
                    <a:pt x="425" y="101"/>
                  </a:moveTo>
                  <a:cubicBezTo>
                    <a:pt x="340" y="7"/>
                    <a:pt x="195" y="0"/>
                    <a:pt x="101" y="85"/>
                  </a:cubicBezTo>
                  <a:cubicBezTo>
                    <a:pt x="8" y="170"/>
                    <a:pt x="0" y="314"/>
                    <a:pt x="85" y="408"/>
                  </a:cubicBezTo>
                  <a:cubicBezTo>
                    <a:pt x="170" y="502"/>
                    <a:pt x="314" y="509"/>
                    <a:pt x="408" y="425"/>
                  </a:cubicBezTo>
                  <a:cubicBezTo>
                    <a:pt x="502" y="340"/>
                    <a:pt x="509" y="195"/>
                    <a:pt x="425" y="101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2" name="Freeform 3263"/>
            <p:cNvSpPr/>
            <p:nvPr userDrawn="1"/>
          </p:nvSpPr>
          <p:spPr bwMode="auto">
            <a:xfrm>
              <a:off x="9833892" y="5754510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2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2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3" name="Freeform 3264"/>
            <p:cNvSpPr/>
            <p:nvPr userDrawn="1"/>
          </p:nvSpPr>
          <p:spPr bwMode="auto">
            <a:xfrm>
              <a:off x="9905338" y="5735554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1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1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4" name="Freeform 3265"/>
            <p:cNvSpPr/>
            <p:nvPr userDrawn="1"/>
          </p:nvSpPr>
          <p:spPr bwMode="auto">
            <a:xfrm>
              <a:off x="10408380" y="5678689"/>
              <a:ext cx="443260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60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5" name="Freeform 3266"/>
            <p:cNvSpPr/>
            <p:nvPr userDrawn="1"/>
          </p:nvSpPr>
          <p:spPr bwMode="auto">
            <a:xfrm>
              <a:off x="10443374" y="567285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6" name="Freeform 3267"/>
            <p:cNvSpPr/>
            <p:nvPr userDrawn="1"/>
          </p:nvSpPr>
          <p:spPr bwMode="auto">
            <a:xfrm>
              <a:off x="11277402" y="5458517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8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2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7" name="Freeform 3268"/>
            <p:cNvSpPr/>
            <p:nvPr userDrawn="1"/>
          </p:nvSpPr>
          <p:spPr bwMode="auto">
            <a:xfrm>
              <a:off x="11319686" y="5448311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7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1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8" name="Freeform 3269"/>
            <p:cNvSpPr/>
            <p:nvPr userDrawn="1"/>
          </p:nvSpPr>
          <p:spPr bwMode="auto">
            <a:xfrm>
              <a:off x="10543982" y="5680147"/>
              <a:ext cx="734878" cy="734878"/>
            </a:xfrm>
            <a:custGeom>
              <a:avLst/>
              <a:gdLst>
                <a:gd name="T0" fmla="*/ 51 w 361"/>
                <a:gd name="T1" fmla="*/ 87 h 361"/>
                <a:gd name="T2" fmla="*/ 87 w 361"/>
                <a:gd name="T3" fmla="*/ 309 h 361"/>
                <a:gd name="T4" fmla="*/ 310 w 361"/>
                <a:gd name="T5" fmla="*/ 274 h 361"/>
                <a:gd name="T6" fmla="*/ 274 w 361"/>
                <a:gd name="T7" fmla="*/ 51 h 361"/>
                <a:gd name="T8" fmla="*/ 51 w 361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1" h="361">
                  <a:moveTo>
                    <a:pt x="51" y="87"/>
                  </a:moveTo>
                  <a:cubicBezTo>
                    <a:pt x="0" y="158"/>
                    <a:pt x="16" y="258"/>
                    <a:pt x="87" y="309"/>
                  </a:cubicBezTo>
                  <a:cubicBezTo>
                    <a:pt x="158" y="361"/>
                    <a:pt x="258" y="345"/>
                    <a:pt x="310" y="274"/>
                  </a:cubicBezTo>
                  <a:cubicBezTo>
                    <a:pt x="361" y="202"/>
                    <a:pt x="345" y="103"/>
                    <a:pt x="274" y="51"/>
                  </a:cubicBezTo>
                  <a:cubicBezTo>
                    <a:pt x="203" y="0"/>
                    <a:pt x="103" y="16"/>
                    <a:pt x="51" y="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9" name="Freeform 3270"/>
            <p:cNvSpPr/>
            <p:nvPr userDrawn="1"/>
          </p:nvSpPr>
          <p:spPr bwMode="auto">
            <a:xfrm>
              <a:off x="10549814" y="5739929"/>
              <a:ext cx="737794" cy="734878"/>
            </a:xfrm>
            <a:custGeom>
              <a:avLst/>
              <a:gdLst>
                <a:gd name="T0" fmla="*/ 52 w 362"/>
                <a:gd name="T1" fmla="*/ 87 h 361"/>
                <a:gd name="T2" fmla="*/ 88 w 362"/>
                <a:gd name="T3" fmla="*/ 310 h 361"/>
                <a:gd name="T4" fmla="*/ 310 w 362"/>
                <a:gd name="T5" fmla="*/ 274 h 361"/>
                <a:gd name="T6" fmla="*/ 274 w 362"/>
                <a:gd name="T7" fmla="*/ 51 h 361"/>
                <a:gd name="T8" fmla="*/ 52 w 362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361">
                  <a:moveTo>
                    <a:pt x="52" y="87"/>
                  </a:moveTo>
                  <a:cubicBezTo>
                    <a:pt x="0" y="158"/>
                    <a:pt x="16" y="258"/>
                    <a:pt x="88" y="310"/>
                  </a:cubicBezTo>
                  <a:cubicBezTo>
                    <a:pt x="159" y="361"/>
                    <a:pt x="259" y="345"/>
                    <a:pt x="310" y="274"/>
                  </a:cubicBezTo>
                  <a:cubicBezTo>
                    <a:pt x="362" y="202"/>
                    <a:pt x="346" y="103"/>
                    <a:pt x="274" y="51"/>
                  </a:cubicBezTo>
                  <a:cubicBezTo>
                    <a:pt x="203" y="0"/>
                    <a:pt x="104" y="16"/>
                    <a:pt x="52" y="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0" name="任意多边形: 形状 589"/>
            <p:cNvSpPr/>
            <p:nvPr userDrawn="1"/>
          </p:nvSpPr>
          <p:spPr bwMode="auto">
            <a:xfrm>
              <a:off x="11406855" y="6022655"/>
              <a:ext cx="786353" cy="810760"/>
            </a:xfrm>
            <a:custGeom>
              <a:avLst/>
              <a:gdLst>
                <a:gd name="connsiteX0" fmla="*/ 676024 w 856144"/>
                <a:gd name="connsiteY0" fmla="*/ 1578 h 882717"/>
                <a:gd name="connsiteX1" fmla="*/ 795126 w 856144"/>
                <a:gd name="connsiteY1" fmla="*/ 21526 h 882717"/>
                <a:gd name="connsiteX2" fmla="*/ 856144 w 856144"/>
                <a:gd name="connsiteY2" fmla="*/ 44401 h 882717"/>
                <a:gd name="connsiteX3" fmla="*/ 856144 w 856144"/>
                <a:gd name="connsiteY3" fmla="*/ 882717 h 882717"/>
                <a:gd name="connsiteX4" fmla="*/ 56016 w 856144"/>
                <a:gd name="connsiteY4" fmla="*/ 882717 h 882717"/>
                <a:gd name="connsiteX5" fmla="*/ 30672 w 856144"/>
                <a:gd name="connsiteY5" fmla="*/ 824846 h 882717"/>
                <a:gd name="connsiteX6" fmla="*/ 218312 w 856144"/>
                <a:gd name="connsiteY6" fmla="*/ 152962 h 882717"/>
                <a:gd name="connsiteX7" fmla="*/ 676024 w 856144"/>
                <a:gd name="connsiteY7" fmla="*/ 1578 h 88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6144" h="882717">
                  <a:moveTo>
                    <a:pt x="676024" y="1578"/>
                  </a:moveTo>
                  <a:cubicBezTo>
                    <a:pt x="716198" y="4415"/>
                    <a:pt x="756096" y="11074"/>
                    <a:pt x="795126" y="21526"/>
                  </a:cubicBezTo>
                  <a:lnTo>
                    <a:pt x="856144" y="44401"/>
                  </a:lnTo>
                  <a:lnTo>
                    <a:pt x="856144" y="882717"/>
                  </a:lnTo>
                  <a:lnTo>
                    <a:pt x="56016" y="882717"/>
                  </a:lnTo>
                  <a:lnTo>
                    <a:pt x="30672" y="824846"/>
                  </a:lnTo>
                  <a:cubicBezTo>
                    <a:pt x="-45176" y="590921"/>
                    <a:pt x="20492" y="323994"/>
                    <a:pt x="218312" y="152962"/>
                  </a:cubicBezTo>
                  <a:cubicBezTo>
                    <a:pt x="350196" y="40047"/>
                    <a:pt x="515324" y="-9768"/>
                    <a:pt x="676024" y="157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91" name="任意多边形: 形状 590"/>
            <p:cNvSpPr/>
            <p:nvPr userDrawn="1"/>
          </p:nvSpPr>
          <p:spPr bwMode="auto">
            <a:xfrm>
              <a:off x="11313892" y="6023747"/>
              <a:ext cx="884941" cy="828541"/>
            </a:xfrm>
            <a:custGeom>
              <a:avLst/>
              <a:gdLst>
                <a:gd name="connsiteX0" fmla="*/ 677017 w 963481"/>
                <a:gd name="connsiteY0" fmla="*/ 1579 h 902076"/>
                <a:gd name="connsiteX1" fmla="*/ 910499 w 963481"/>
                <a:gd name="connsiteY1" fmla="*/ 64161 h 902076"/>
                <a:gd name="connsiteX2" fmla="*/ 963481 w 963481"/>
                <a:gd name="connsiteY2" fmla="*/ 96956 h 902076"/>
                <a:gd name="connsiteX3" fmla="*/ 963481 w 963481"/>
                <a:gd name="connsiteY3" fmla="*/ 902076 h 902076"/>
                <a:gd name="connsiteX4" fmla="*/ 64393 w 963481"/>
                <a:gd name="connsiteY4" fmla="*/ 902076 h 902076"/>
                <a:gd name="connsiteX5" fmla="*/ 30753 w 963481"/>
                <a:gd name="connsiteY5" fmla="*/ 825013 h 902076"/>
                <a:gd name="connsiteX6" fmla="*/ 217753 w 963481"/>
                <a:gd name="connsiteY6" fmla="*/ 154242 h 902076"/>
                <a:gd name="connsiteX7" fmla="*/ 677017 w 963481"/>
                <a:gd name="connsiteY7" fmla="*/ 1579 h 90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3481" h="902076">
                  <a:moveTo>
                    <a:pt x="677017" y="1579"/>
                  </a:moveTo>
                  <a:cubicBezTo>
                    <a:pt x="757631" y="7259"/>
                    <a:pt x="837065" y="28247"/>
                    <a:pt x="910499" y="64161"/>
                  </a:cubicBezTo>
                  <a:lnTo>
                    <a:pt x="963481" y="96956"/>
                  </a:lnTo>
                  <a:lnTo>
                    <a:pt x="963481" y="902076"/>
                  </a:lnTo>
                  <a:lnTo>
                    <a:pt x="64393" y="902076"/>
                  </a:lnTo>
                  <a:lnTo>
                    <a:pt x="30753" y="825013"/>
                  </a:lnTo>
                  <a:cubicBezTo>
                    <a:pt x="-44899" y="591448"/>
                    <a:pt x="19621" y="325467"/>
                    <a:pt x="217753" y="154242"/>
                  </a:cubicBezTo>
                  <a:cubicBezTo>
                    <a:pt x="349845" y="40091"/>
                    <a:pt x="515789" y="-9780"/>
                    <a:pt x="677017" y="157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92" name="任意多边形: 形状 591"/>
            <p:cNvSpPr/>
            <p:nvPr userDrawn="1"/>
          </p:nvSpPr>
          <p:spPr bwMode="auto">
            <a:xfrm>
              <a:off x="10722314" y="6184713"/>
              <a:ext cx="1157732" cy="652568"/>
            </a:xfrm>
            <a:custGeom>
              <a:avLst/>
              <a:gdLst>
                <a:gd name="connsiteX0" fmla="*/ 603283 w 1260483"/>
                <a:gd name="connsiteY0" fmla="*/ 603 h 710485"/>
                <a:gd name="connsiteX1" fmla="*/ 1200343 w 1260483"/>
                <a:gd name="connsiteY1" fmla="*/ 360707 h 710485"/>
                <a:gd name="connsiteX2" fmla="*/ 1260483 w 1260483"/>
                <a:gd name="connsiteY2" fmla="*/ 604653 h 710485"/>
                <a:gd name="connsiteX3" fmla="*/ 1254687 w 1260483"/>
                <a:gd name="connsiteY3" fmla="*/ 710485 h 710485"/>
                <a:gd name="connsiteX4" fmla="*/ 8021 w 1260483"/>
                <a:gd name="connsiteY4" fmla="*/ 710485 h 710485"/>
                <a:gd name="connsiteX5" fmla="*/ 575 w 1260483"/>
                <a:gd name="connsiteY5" fmla="*/ 658198 h 710485"/>
                <a:gd name="connsiteX6" fmla="*/ 360059 w 1260483"/>
                <a:gd name="connsiteY6" fmla="*/ 61659 h 710485"/>
                <a:gd name="connsiteX7" fmla="*/ 603283 w 1260483"/>
                <a:gd name="connsiteY7" fmla="*/ 603 h 71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483" h="710485">
                  <a:moveTo>
                    <a:pt x="603283" y="603"/>
                  </a:moveTo>
                  <a:cubicBezTo>
                    <a:pt x="849071" y="-10196"/>
                    <a:pt x="1088933" y="124791"/>
                    <a:pt x="1200343" y="360707"/>
                  </a:cubicBezTo>
                  <a:cubicBezTo>
                    <a:pt x="1237479" y="439900"/>
                    <a:pt x="1257019" y="522692"/>
                    <a:pt x="1260483" y="604653"/>
                  </a:cubicBezTo>
                  <a:lnTo>
                    <a:pt x="1254687" y="710485"/>
                  </a:lnTo>
                  <a:lnTo>
                    <a:pt x="8021" y="710485"/>
                  </a:lnTo>
                  <a:lnTo>
                    <a:pt x="575" y="658198"/>
                  </a:lnTo>
                  <a:cubicBezTo>
                    <a:pt x="-9921" y="412626"/>
                    <a:pt x="123937" y="172971"/>
                    <a:pt x="360059" y="61659"/>
                  </a:cubicBezTo>
                  <a:cubicBezTo>
                    <a:pt x="438767" y="24001"/>
                    <a:pt x="521353" y="4203"/>
                    <a:pt x="603283" y="603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93" name="任意多边形: 形状 592"/>
            <p:cNvSpPr/>
            <p:nvPr userDrawn="1"/>
          </p:nvSpPr>
          <p:spPr bwMode="auto">
            <a:xfrm>
              <a:off x="10820442" y="6248865"/>
              <a:ext cx="1159012" cy="602859"/>
            </a:xfrm>
            <a:custGeom>
              <a:avLst/>
              <a:gdLst>
                <a:gd name="connsiteX0" fmla="*/ 605141 w 1261877"/>
                <a:gd name="connsiteY0" fmla="*/ 506 h 677001"/>
                <a:gd name="connsiteX1" fmla="*/ 1200727 w 1261877"/>
                <a:gd name="connsiteY1" fmla="*/ 361703 h 677001"/>
                <a:gd name="connsiteX2" fmla="*/ 1261877 w 1261877"/>
                <a:gd name="connsiteY2" fmla="*/ 604820 h 677001"/>
                <a:gd name="connsiteX3" fmla="*/ 1257993 w 1261877"/>
                <a:gd name="connsiteY3" fmla="*/ 677001 h 677001"/>
                <a:gd name="connsiteX4" fmla="*/ 3301 w 1261877"/>
                <a:gd name="connsiteY4" fmla="*/ 677001 h 677001"/>
                <a:gd name="connsiteX5" fmla="*/ 507 w 1261877"/>
                <a:gd name="connsiteY5" fmla="*/ 657107 h 677001"/>
                <a:gd name="connsiteX6" fmla="*/ 362101 w 1261877"/>
                <a:gd name="connsiteY6" fmla="*/ 60308 h 677001"/>
                <a:gd name="connsiteX7" fmla="*/ 605141 w 1261877"/>
                <a:gd name="connsiteY7" fmla="*/ 506 h 67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877" h="677001">
                  <a:moveTo>
                    <a:pt x="605141" y="506"/>
                  </a:moveTo>
                  <a:cubicBezTo>
                    <a:pt x="850469" y="-9362"/>
                    <a:pt x="1089243" y="125684"/>
                    <a:pt x="1200727" y="361703"/>
                  </a:cubicBezTo>
                  <a:cubicBezTo>
                    <a:pt x="1238443" y="440376"/>
                    <a:pt x="1258271" y="522927"/>
                    <a:pt x="1261877" y="604820"/>
                  </a:cubicBezTo>
                  <a:lnTo>
                    <a:pt x="1257993" y="677001"/>
                  </a:lnTo>
                  <a:lnTo>
                    <a:pt x="3301" y="677001"/>
                  </a:lnTo>
                  <a:lnTo>
                    <a:pt x="507" y="657107"/>
                  </a:lnTo>
                  <a:cubicBezTo>
                    <a:pt x="-9373" y="411427"/>
                    <a:pt x="125823" y="171669"/>
                    <a:pt x="362101" y="60308"/>
                  </a:cubicBezTo>
                  <a:cubicBezTo>
                    <a:pt x="440861" y="23187"/>
                    <a:pt x="523365" y="3796"/>
                    <a:pt x="605141" y="50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94" name="Freeform 3275"/>
            <p:cNvSpPr/>
            <p:nvPr userDrawn="1"/>
          </p:nvSpPr>
          <p:spPr bwMode="auto">
            <a:xfrm>
              <a:off x="8318934" y="3230553"/>
              <a:ext cx="527829" cy="545326"/>
            </a:xfrm>
            <a:custGeom>
              <a:avLst/>
              <a:gdLst>
                <a:gd name="T0" fmla="*/ 3 w 259"/>
                <a:gd name="T1" fmla="*/ 0 h 268"/>
                <a:gd name="T2" fmla="*/ 0 w 259"/>
                <a:gd name="T3" fmla="*/ 71 h 268"/>
                <a:gd name="T4" fmla="*/ 179 w 259"/>
                <a:gd name="T5" fmla="*/ 268 h 268"/>
                <a:gd name="T6" fmla="*/ 259 w 259"/>
                <a:gd name="T7" fmla="*/ 224 h 268"/>
                <a:gd name="T8" fmla="*/ 3 w 259"/>
                <a:gd name="T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8">
                  <a:moveTo>
                    <a:pt x="3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55" y="122"/>
                    <a:pt x="129" y="197"/>
                    <a:pt x="179" y="268"/>
                  </a:cubicBezTo>
                  <a:cubicBezTo>
                    <a:pt x="217" y="237"/>
                    <a:pt x="259" y="224"/>
                    <a:pt x="259" y="224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5" name="Freeform 3276"/>
            <p:cNvSpPr/>
            <p:nvPr userDrawn="1"/>
          </p:nvSpPr>
          <p:spPr bwMode="auto">
            <a:xfrm>
              <a:off x="8318934" y="3376362"/>
              <a:ext cx="438885" cy="931721"/>
            </a:xfrm>
            <a:custGeom>
              <a:avLst/>
              <a:gdLst>
                <a:gd name="T0" fmla="*/ 0 w 216"/>
                <a:gd name="T1" fmla="*/ 0 h 458"/>
                <a:gd name="T2" fmla="*/ 27 w 216"/>
                <a:gd name="T3" fmla="*/ 421 h 458"/>
                <a:gd name="T4" fmla="*/ 160 w 216"/>
                <a:gd name="T5" fmla="*/ 458 h 458"/>
                <a:gd name="T6" fmla="*/ 216 w 216"/>
                <a:gd name="T7" fmla="*/ 172 h 458"/>
                <a:gd name="T8" fmla="*/ 0 w 216"/>
                <a:gd name="T9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458">
                  <a:moveTo>
                    <a:pt x="0" y="0"/>
                  </a:moveTo>
                  <a:cubicBezTo>
                    <a:pt x="0" y="0"/>
                    <a:pt x="61" y="224"/>
                    <a:pt x="27" y="421"/>
                  </a:cubicBezTo>
                  <a:cubicBezTo>
                    <a:pt x="60" y="441"/>
                    <a:pt x="103" y="457"/>
                    <a:pt x="160" y="458"/>
                  </a:cubicBezTo>
                  <a:cubicBezTo>
                    <a:pt x="79" y="323"/>
                    <a:pt x="163" y="217"/>
                    <a:pt x="216" y="172"/>
                  </a:cubicBezTo>
                  <a:cubicBezTo>
                    <a:pt x="156" y="112"/>
                    <a:pt x="75" y="4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6" name="Freeform 3277"/>
            <p:cNvSpPr/>
            <p:nvPr userDrawn="1"/>
          </p:nvSpPr>
          <p:spPr bwMode="auto">
            <a:xfrm>
              <a:off x="8180416" y="3376362"/>
              <a:ext cx="262456" cy="855900"/>
            </a:xfrm>
            <a:custGeom>
              <a:avLst/>
              <a:gdLst>
                <a:gd name="T0" fmla="*/ 68 w 129"/>
                <a:gd name="T1" fmla="*/ 0 h 421"/>
                <a:gd name="T2" fmla="*/ 59 w 129"/>
                <a:gd name="T3" fmla="*/ 240 h 421"/>
                <a:gd name="T4" fmla="*/ 0 w 129"/>
                <a:gd name="T5" fmla="*/ 299 h 421"/>
                <a:gd name="T6" fmla="*/ 95 w 129"/>
                <a:gd name="T7" fmla="*/ 421 h 421"/>
                <a:gd name="T8" fmla="*/ 68 w 129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421">
                  <a:moveTo>
                    <a:pt x="68" y="0"/>
                  </a:moveTo>
                  <a:cubicBezTo>
                    <a:pt x="59" y="240"/>
                    <a:pt x="59" y="240"/>
                    <a:pt x="59" y="240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299"/>
                    <a:pt x="19" y="374"/>
                    <a:pt x="95" y="421"/>
                  </a:cubicBezTo>
                  <a:cubicBezTo>
                    <a:pt x="129" y="224"/>
                    <a:pt x="68" y="0"/>
                    <a:pt x="68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7" name="Freeform 3278"/>
            <p:cNvSpPr/>
            <p:nvPr userDrawn="1"/>
          </p:nvSpPr>
          <p:spPr bwMode="auto">
            <a:xfrm>
              <a:off x="8577017" y="2972470"/>
              <a:ext cx="548242" cy="527829"/>
            </a:xfrm>
            <a:custGeom>
              <a:avLst/>
              <a:gdLst>
                <a:gd name="T0" fmla="*/ 0 w 269"/>
                <a:gd name="T1" fmla="*/ 3 h 259"/>
                <a:gd name="T2" fmla="*/ 71 w 269"/>
                <a:gd name="T3" fmla="*/ 0 h 259"/>
                <a:gd name="T4" fmla="*/ 269 w 269"/>
                <a:gd name="T5" fmla="*/ 179 h 259"/>
                <a:gd name="T6" fmla="*/ 224 w 269"/>
                <a:gd name="T7" fmla="*/ 259 h 259"/>
                <a:gd name="T8" fmla="*/ 0 w 269"/>
                <a:gd name="T9" fmla="*/ 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59">
                  <a:moveTo>
                    <a:pt x="0" y="3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23" y="55"/>
                    <a:pt x="197" y="129"/>
                    <a:pt x="269" y="179"/>
                  </a:cubicBezTo>
                  <a:cubicBezTo>
                    <a:pt x="237" y="217"/>
                    <a:pt x="224" y="259"/>
                    <a:pt x="224" y="259"/>
                  </a:cubicBez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8" name="Freeform 3279"/>
            <p:cNvSpPr/>
            <p:nvPr userDrawn="1"/>
          </p:nvSpPr>
          <p:spPr bwMode="auto">
            <a:xfrm>
              <a:off x="8721368" y="2972470"/>
              <a:ext cx="933178" cy="440344"/>
            </a:xfrm>
            <a:custGeom>
              <a:avLst/>
              <a:gdLst>
                <a:gd name="T0" fmla="*/ 0 w 458"/>
                <a:gd name="T1" fmla="*/ 0 h 216"/>
                <a:gd name="T2" fmla="*/ 421 w 458"/>
                <a:gd name="T3" fmla="*/ 26 h 216"/>
                <a:gd name="T4" fmla="*/ 458 w 458"/>
                <a:gd name="T5" fmla="*/ 160 h 216"/>
                <a:gd name="T6" fmla="*/ 172 w 458"/>
                <a:gd name="T7" fmla="*/ 216 h 216"/>
                <a:gd name="T8" fmla="*/ 0 w 458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216">
                  <a:moveTo>
                    <a:pt x="0" y="0"/>
                  </a:moveTo>
                  <a:cubicBezTo>
                    <a:pt x="0" y="0"/>
                    <a:pt x="224" y="61"/>
                    <a:pt x="421" y="26"/>
                  </a:cubicBezTo>
                  <a:cubicBezTo>
                    <a:pt x="441" y="59"/>
                    <a:pt x="457" y="103"/>
                    <a:pt x="458" y="160"/>
                  </a:cubicBezTo>
                  <a:cubicBezTo>
                    <a:pt x="323" y="78"/>
                    <a:pt x="217" y="162"/>
                    <a:pt x="172" y="216"/>
                  </a:cubicBezTo>
                  <a:cubicBezTo>
                    <a:pt x="112" y="156"/>
                    <a:pt x="47" y="75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9" name="Freeform 3280"/>
            <p:cNvSpPr/>
            <p:nvPr userDrawn="1"/>
          </p:nvSpPr>
          <p:spPr bwMode="auto">
            <a:xfrm>
              <a:off x="8721368" y="2844398"/>
              <a:ext cx="858815" cy="263915"/>
            </a:xfrm>
            <a:custGeom>
              <a:avLst/>
              <a:gdLst>
                <a:gd name="T0" fmla="*/ 0 w 421"/>
                <a:gd name="T1" fmla="*/ 69 h 130"/>
                <a:gd name="T2" fmla="*/ 240 w 421"/>
                <a:gd name="T3" fmla="*/ 60 h 130"/>
                <a:gd name="T4" fmla="*/ 299 w 421"/>
                <a:gd name="T5" fmla="*/ 0 h 130"/>
                <a:gd name="T6" fmla="*/ 421 w 421"/>
                <a:gd name="T7" fmla="*/ 95 h 130"/>
                <a:gd name="T8" fmla="*/ 0 w 421"/>
                <a:gd name="T9" fmla="*/ 6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" h="130">
                  <a:moveTo>
                    <a:pt x="0" y="69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0"/>
                    <a:pt x="374" y="20"/>
                    <a:pt x="421" y="95"/>
                  </a:cubicBezTo>
                  <a:cubicBezTo>
                    <a:pt x="224" y="130"/>
                    <a:pt x="0" y="69"/>
                    <a:pt x="0" y="69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0" name="Freeform 3281"/>
            <p:cNvSpPr/>
            <p:nvPr userDrawn="1"/>
          </p:nvSpPr>
          <p:spPr bwMode="auto">
            <a:xfrm>
              <a:off x="9765361" y="3229094"/>
              <a:ext cx="629895" cy="624063"/>
            </a:xfrm>
            <a:custGeom>
              <a:avLst/>
              <a:gdLst>
                <a:gd name="T0" fmla="*/ 11 w 309"/>
                <a:gd name="T1" fmla="*/ 10 h 307"/>
                <a:gd name="T2" fmla="*/ 45 w 309"/>
                <a:gd name="T3" fmla="*/ 145 h 307"/>
                <a:gd name="T4" fmla="*/ 300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8 w 309"/>
                <a:gd name="T11" fmla="*/ 45 h 307"/>
                <a:gd name="T12" fmla="*/ 11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1" y="10"/>
                  </a:moveTo>
                  <a:cubicBezTo>
                    <a:pt x="0" y="31"/>
                    <a:pt x="4" y="94"/>
                    <a:pt x="45" y="145"/>
                  </a:cubicBezTo>
                  <a:cubicBezTo>
                    <a:pt x="86" y="200"/>
                    <a:pt x="166" y="242"/>
                    <a:pt x="300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8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8" y="45"/>
                  </a:cubicBezTo>
                  <a:cubicBezTo>
                    <a:pt x="96" y="4"/>
                    <a:pt x="32" y="0"/>
                    <a:pt x="11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1" name="Freeform 3282"/>
            <p:cNvSpPr/>
            <p:nvPr userDrawn="1"/>
          </p:nvSpPr>
          <p:spPr bwMode="auto">
            <a:xfrm>
              <a:off x="9771193" y="3233469"/>
              <a:ext cx="478254" cy="473880"/>
            </a:xfrm>
            <a:custGeom>
              <a:avLst/>
              <a:gdLst>
                <a:gd name="T0" fmla="*/ 8 w 235"/>
                <a:gd name="T1" fmla="*/ 8 h 233"/>
                <a:gd name="T2" fmla="*/ 34 w 235"/>
                <a:gd name="T3" fmla="*/ 111 h 233"/>
                <a:gd name="T4" fmla="*/ 227 w 235"/>
                <a:gd name="T5" fmla="*/ 230 h 233"/>
                <a:gd name="T6" fmla="*/ 235 w 235"/>
                <a:gd name="T7" fmla="*/ 233 h 233"/>
                <a:gd name="T8" fmla="*/ 231 w 235"/>
                <a:gd name="T9" fmla="*/ 226 h 233"/>
                <a:gd name="T10" fmla="*/ 112 w 235"/>
                <a:gd name="T11" fmla="*/ 35 h 233"/>
                <a:gd name="T12" fmla="*/ 8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8" y="8"/>
                  </a:moveTo>
                  <a:cubicBezTo>
                    <a:pt x="0" y="24"/>
                    <a:pt x="3" y="72"/>
                    <a:pt x="34" y="111"/>
                  </a:cubicBezTo>
                  <a:cubicBezTo>
                    <a:pt x="65" y="152"/>
                    <a:pt x="125" y="184"/>
                    <a:pt x="227" y="230"/>
                  </a:cubicBezTo>
                  <a:cubicBezTo>
                    <a:pt x="230" y="231"/>
                    <a:pt x="232" y="232"/>
                    <a:pt x="235" y="233"/>
                  </a:cubicBezTo>
                  <a:cubicBezTo>
                    <a:pt x="233" y="231"/>
                    <a:pt x="232" y="229"/>
                    <a:pt x="231" y="226"/>
                  </a:cubicBezTo>
                  <a:cubicBezTo>
                    <a:pt x="186" y="126"/>
                    <a:pt x="154" y="66"/>
                    <a:pt x="112" y="35"/>
                  </a:cubicBezTo>
                  <a:cubicBezTo>
                    <a:pt x="73" y="3"/>
                    <a:pt x="24" y="0"/>
                    <a:pt x="8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2" name="Freeform 3283"/>
            <p:cNvSpPr/>
            <p:nvPr userDrawn="1"/>
          </p:nvSpPr>
          <p:spPr bwMode="auto">
            <a:xfrm>
              <a:off x="9775568" y="3237843"/>
              <a:ext cx="335361" cy="332445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2 h 164"/>
                <a:gd name="T6" fmla="*/ 165 w 165"/>
                <a:gd name="T7" fmla="*/ 164 h 164"/>
                <a:gd name="T8" fmla="*/ 163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30"/>
                    <a:pt x="160" y="162"/>
                  </a:cubicBezTo>
                  <a:cubicBezTo>
                    <a:pt x="162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3" y="159"/>
                  </a:cubicBezTo>
                  <a:cubicBezTo>
                    <a:pt x="131" y="88"/>
                    <a:pt x="108" y="47"/>
                    <a:pt x="79" y="25"/>
                  </a:cubicBezTo>
                  <a:cubicBezTo>
                    <a:pt x="52" y="3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3" name="Freeform 3284"/>
            <p:cNvSpPr/>
            <p:nvPr userDrawn="1"/>
          </p:nvSpPr>
          <p:spPr bwMode="auto">
            <a:xfrm>
              <a:off x="9139840" y="2600657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2 w 402"/>
                <a:gd name="T3" fmla="*/ 33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3 h 403"/>
                <a:gd name="T14" fmla="*/ 280 w 402"/>
                <a:gd name="T15" fmla="*/ 142 h 403"/>
                <a:gd name="T16" fmla="*/ 84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2" y="33"/>
                    <a:pt x="32" y="33"/>
                    <a:pt x="32" y="33"/>
                  </a:cubicBezTo>
                  <a:cubicBezTo>
                    <a:pt x="13" y="51"/>
                    <a:pt x="3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2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6" y="269"/>
                    <a:pt x="402" y="263"/>
                  </a:cubicBezTo>
                  <a:cubicBezTo>
                    <a:pt x="351" y="205"/>
                    <a:pt x="319" y="171"/>
                    <a:pt x="280" y="142"/>
                  </a:cubicBezTo>
                  <a:cubicBezTo>
                    <a:pt x="224" y="98"/>
                    <a:pt x="150" y="34"/>
                    <a:pt x="84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4" name="Freeform 3285"/>
            <p:cNvSpPr/>
            <p:nvPr userDrawn="1"/>
          </p:nvSpPr>
          <p:spPr bwMode="auto">
            <a:xfrm>
              <a:off x="9043606" y="2504423"/>
              <a:ext cx="266830" cy="268289"/>
            </a:xfrm>
            <a:custGeom>
              <a:avLst/>
              <a:gdLst>
                <a:gd name="T0" fmla="*/ 0 w 131"/>
                <a:gd name="T1" fmla="*/ 0 h 132"/>
                <a:gd name="T2" fmla="*/ 47 w 131"/>
                <a:gd name="T3" fmla="*/ 132 h 132"/>
                <a:gd name="T4" fmla="*/ 79 w 131"/>
                <a:gd name="T5" fmla="*/ 80 h 132"/>
                <a:gd name="T6" fmla="*/ 79 w 131"/>
                <a:gd name="T7" fmla="*/ 79 h 132"/>
                <a:gd name="T8" fmla="*/ 131 w 131"/>
                <a:gd name="T9" fmla="*/ 47 h 132"/>
                <a:gd name="T10" fmla="*/ 0 w 131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0" y="0"/>
                  </a:moveTo>
                  <a:cubicBezTo>
                    <a:pt x="2" y="11"/>
                    <a:pt x="4" y="50"/>
                    <a:pt x="47" y="132"/>
                  </a:cubicBezTo>
                  <a:cubicBezTo>
                    <a:pt x="50" y="119"/>
                    <a:pt x="60" y="98"/>
                    <a:pt x="79" y="80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97" y="60"/>
                    <a:pt x="118" y="50"/>
                    <a:pt x="131" y="47"/>
                  </a:cubicBezTo>
                  <a:cubicBezTo>
                    <a:pt x="49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5" name="Freeform 3286"/>
            <p:cNvSpPr/>
            <p:nvPr userDrawn="1"/>
          </p:nvSpPr>
          <p:spPr bwMode="auto">
            <a:xfrm>
              <a:off x="9673502" y="3135776"/>
              <a:ext cx="323696" cy="320780"/>
            </a:xfrm>
            <a:custGeom>
              <a:avLst/>
              <a:gdLst>
                <a:gd name="T0" fmla="*/ 0 w 159"/>
                <a:gd name="T1" fmla="*/ 140 h 158"/>
                <a:gd name="T2" fmla="*/ 4 w 159"/>
                <a:gd name="T3" fmla="*/ 144 h 158"/>
                <a:gd name="T4" fmla="*/ 21 w 159"/>
                <a:gd name="T5" fmla="*/ 158 h 158"/>
                <a:gd name="T6" fmla="*/ 75 w 159"/>
                <a:gd name="T7" fmla="*/ 75 h 158"/>
                <a:gd name="T8" fmla="*/ 75 w 159"/>
                <a:gd name="T9" fmla="*/ 75 h 158"/>
                <a:gd name="T10" fmla="*/ 159 w 159"/>
                <a:gd name="T11" fmla="*/ 20 h 158"/>
                <a:gd name="T12" fmla="*/ 144 w 159"/>
                <a:gd name="T13" fmla="*/ 4 h 158"/>
                <a:gd name="T14" fmla="*/ 140 w 159"/>
                <a:gd name="T15" fmla="*/ 0 h 158"/>
                <a:gd name="T16" fmla="*/ 57 w 159"/>
                <a:gd name="T17" fmla="*/ 57 h 158"/>
                <a:gd name="T18" fmla="*/ 0 w 159"/>
                <a:gd name="T19" fmla="*/ 14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58">
                  <a:moveTo>
                    <a:pt x="0" y="140"/>
                  </a:moveTo>
                  <a:cubicBezTo>
                    <a:pt x="2" y="141"/>
                    <a:pt x="3" y="142"/>
                    <a:pt x="4" y="144"/>
                  </a:cubicBezTo>
                  <a:cubicBezTo>
                    <a:pt x="10" y="149"/>
                    <a:pt x="15" y="154"/>
                    <a:pt x="21" y="158"/>
                  </a:cubicBezTo>
                  <a:cubicBezTo>
                    <a:pt x="27" y="138"/>
                    <a:pt x="45" y="10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6"/>
                    <a:pt x="159" y="20"/>
                  </a:cubicBezTo>
                  <a:cubicBezTo>
                    <a:pt x="154" y="14"/>
                    <a:pt x="149" y="9"/>
                    <a:pt x="144" y="4"/>
                  </a:cubicBezTo>
                  <a:cubicBezTo>
                    <a:pt x="143" y="2"/>
                    <a:pt x="141" y="1"/>
                    <a:pt x="140" y="0"/>
                  </a:cubicBezTo>
                  <a:cubicBezTo>
                    <a:pt x="124" y="6"/>
                    <a:pt x="89" y="24"/>
                    <a:pt x="57" y="57"/>
                  </a:cubicBezTo>
                  <a:cubicBezTo>
                    <a:pt x="25" y="89"/>
                    <a:pt x="7" y="123"/>
                    <a:pt x="0" y="140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6" name="Freeform 3287"/>
            <p:cNvSpPr/>
            <p:nvPr userDrawn="1"/>
          </p:nvSpPr>
          <p:spPr bwMode="auto">
            <a:xfrm>
              <a:off x="9673502" y="3217429"/>
              <a:ext cx="158931" cy="211424"/>
            </a:xfrm>
            <a:custGeom>
              <a:avLst/>
              <a:gdLst>
                <a:gd name="T0" fmla="*/ 76 w 78"/>
                <a:gd name="T1" fmla="*/ 0 h 104"/>
                <a:gd name="T2" fmla="*/ 57 w 78"/>
                <a:gd name="T3" fmla="*/ 17 h 104"/>
                <a:gd name="T4" fmla="*/ 3 w 78"/>
                <a:gd name="T5" fmla="*/ 94 h 104"/>
                <a:gd name="T6" fmla="*/ 0 w 78"/>
                <a:gd name="T7" fmla="*/ 100 h 104"/>
                <a:gd name="T8" fmla="*/ 4 w 78"/>
                <a:gd name="T9" fmla="*/ 104 h 104"/>
                <a:gd name="T10" fmla="*/ 5 w 78"/>
                <a:gd name="T11" fmla="*/ 104 h 104"/>
                <a:gd name="T12" fmla="*/ 61 w 78"/>
                <a:gd name="T13" fmla="*/ 21 h 104"/>
                <a:gd name="T14" fmla="*/ 78 w 78"/>
                <a:gd name="T15" fmla="*/ 5 h 104"/>
                <a:gd name="T16" fmla="*/ 76 w 78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04">
                  <a:moveTo>
                    <a:pt x="76" y="0"/>
                  </a:moveTo>
                  <a:cubicBezTo>
                    <a:pt x="70" y="5"/>
                    <a:pt x="63" y="11"/>
                    <a:pt x="57" y="17"/>
                  </a:cubicBezTo>
                  <a:cubicBezTo>
                    <a:pt x="28" y="46"/>
                    <a:pt x="11" y="76"/>
                    <a:pt x="3" y="94"/>
                  </a:cubicBezTo>
                  <a:cubicBezTo>
                    <a:pt x="2" y="96"/>
                    <a:pt x="1" y="98"/>
                    <a:pt x="0" y="100"/>
                  </a:cubicBezTo>
                  <a:cubicBezTo>
                    <a:pt x="2" y="101"/>
                    <a:pt x="3" y="102"/>
                    <a:pt x="4" y="104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11" y="86"/>
                    <a:pt x="29" y="52"/>
                    <a:pt x="61" y="21"/>
                  </a:cubicBezTo>
                  <a:cubicBezTo>
                    <a:pt x="67" y="15"/>
                    <a:pt x="72" y="10"/>
                    <a:pt x="78" y="5"/>
                  </a:cubicBezTo>
                  <a:cubicBezTo>
                    <a:pt x="77" y="3"/>
                    <a:pt x="77" y="2"/>
                    <a:pt x="76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7" name="Freeform 3288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953592" cy="713007"/>
            </a:xfrm>
            <a:custGeom>
              <a:avLst/>
              <a:gdLst>
                <a:gd name="T0" fmla="*/ 445 w 468"/>
                <a:gd name="T1" fmla="*/ 311 h 350"/>
                <a:gd name="T2" fmla="*/ 385 w 468"/>
                <a:gd name="T3" fmla="*/ 350 h 350"/>
                <a:gd name="T4" fmla="*/ 385 w 468"/>
                <a:gd name="T5" fmla="*/ 350 h 350"/>
                <a:gd name="T6" fmla="*/ 445 w 468"/>
                <a:gd name="T7" fmla="*/ 311 h 350"/>
                <a:gd name="T8" fmla="*/ 327 w 468"/>
                <a:gd name="T9" fmla="*/ 189 h 350"/>
                <a:gd name="T10" fmla="*/ 327 w 468"/>
                <a:gd name="T11" fmla="*/ 189 h 350"/>
                <a:gd name="T12" fmla="*/ 449 w 468"/>
                <a:gd name="T13" fmla="*/ 310 h 350"/>
                <a:gd name="T14" fmla="*/ 449 w 468"/>
                <a:gd name="T15" fmla="*/ 310 h 350"/>
                <a:gd name="T16" fmla="*/ 453 w 468"/>
                <a:gd name="T17" fmla="*/ 314 h 350"/>
                <a:gd name="T18" fmla="*/ 453 w 468"/>
                <a:gd name="T19" fmla="*/ 314 h 350"/>
                <a:gd name="T20" fmla="*/ 468 w 468"/>
                <a:gd name="T21" fmla="*/ 330 h 350"/>
                <a:gd name="T22" fmla="*/ 468 w 468"/>
                <a:gd name="T23" fmla="*/ 330 h 350"/>
                <a:gd name="T24" fmla="*/ 453 w 468"/>
                <a:gd name="T25" fmla="*/ 314 h 350"/>
                <a:gd name="T26" fmla="*/ 449 w 468"/>
                <a:gd name="T27" fmla="*/ 310 h 350"/>
                <a:gd name="T28" fmla="*/ 327 w 468"/>
                <a:gd name="T29" fmla="*/ 189 h 350"/>
                <a:gd name="T30" fmla="*/ 327 w 468"/>
                <a:gd name="T31" fmla="*/ 189 h 350"/>
                <a:gd name="T32" fmla="*/ 141 w 468"/>
                <a:gd name="T33" fmla="*/ 52 h 350"/>
                <a:gd name="T34" fmla="*/ 141 w 468"/>
                <a:gd name="T35" fmla="*/ 52 h 350"/>
                <a:gd name="T36" fmla="*/ 141 w 468"/>
                <a:gd name="T37" fmla="*/ 52 h 350"/>
                <a:gd name="T38" fmla="*/ 131 w 468"/>
                <a:gd name="T39" fmla="*/ 47 h 350"/>
                <a:gd name="T40" fmla="*/ 131 w 468"/>
                <a:gd name="T41" fmla="*/ 47 h 350"/>
                <a:gd name="T42" fmla="*/ 140 w 468"/>
                <a:gd name="T43" fmla="*/ 52 h 350"/>
                <a:gd name="T44" fmla="*/ 131 w 468"/>
                <a:gd name="T45" fmla="*/ 47 h 350"/>
                <a:gd name="T46" fmla="*/ 0 w 468"/>
                <a:gd name="T47" fmla="*/ 0 h 350"/>
                <a:gd name="T48" fmla="*/ 0 w 468"/>
                <a:gd name="T49" fmla="*/ 1 h 350"/>
                <a:gd name="T50" fmla="*/ 0 w 468"/>
                <a:gd name="T51" fmla="*/ 1 h 350"/>
                <a:gd name="T52" fmla="*/ 0 w 468"/>
                <a:gd name="T53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8" h="350">
                  <a:moveTo>
                    <a:pt x="445" y="311"/>
                  </a:moveTo>
                  <a:cubicBezTo>
                    <a:pt x="431" y="318"/>
                    <a:pt x="408" y="330"/>
                    <a:pt x="385" y="350"/>
                  </a:cubicBezTo>
                  <a:cubicBezTo>
                    <a:pt x="385" y="350"/>
                    <a:pt x="385" y="350"/>
                    <a:pt x="385" y="350"/>
                  </a:cubicBezTo>
                  <a:cubicBezTo>
                    <a:pt x="408" y="330"/>
                    <a:pt x="431" y="318"/>
                    <a:pt x="445" y="311"/>
                  </a:cubicBezTo>
                  <a:moveTo>
                    <a:pt x="327" y="189"/>
                  </a:moveTo>
                  <a:cubicBezTo>
                    <a:pt x="327" y="189"/>
                    <a:pt x="327" y="189"/>
                    <a:pt x="327" y="189"/>
                  </a:cubicBezTo>
                  <a:cubicBezTo>
                    <a:pt x="366" y="218"/>
                    <a:pt x="398" y="252"/>
                    <a:pt x="449" y="310"/>
                  </a:cubicBezTo>
                  <a:cubicBezTo>
                    <a:pt x="449" y="310"/>
                    <a:pt x="449" y="310"/>
                    <a:pt x="449" y="310"/>
                  </a:cubicBezTo>
                  <a:cubicBezTo>
                    <a:pt x="450" y="311"/>
                    <a:pt x="452" y="312"/>
                    <a:pt x="453" y="314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58" y="319"/>
                    <a:pt x="463" y="324"/>
                    <a:pt x="468" y="330"/>
                  </a:cubicBezTo>
                  <a:cubicBezTo>
                    <a:pt x="468" y="330"/>
                    <a:pt x="468" y="330"/>
                    <a:pt x="468" y="330"/>
                  </a:cubicBezTo>
                  <a:cubicBezTo>
                    <a:pt x="463" y="324"/>
                    <a:pt x="458" y="319"/>
                    <a:pt x="453" y="314"/>
                  </a:cubicBezTo>
                  <a:cubicBezTo>
                    <a:pt x="452" y="312"/>
                    <a:pt x="450" y="311"/>
                    <a:pt x="449" y="310"/>
                  </a:cubicBezTo>
                  <a:cubicBezTo>
                    <a:pt x="398" y="252"/>
                    <a:pt x="366" y="218"/>
                    <a:pt x="327" y="189"/>
                  </a:cubicBezTo>
                  <a:cubicBezTo>
                    <a:pt x="327" y="189"/>
                    <a:pt x="327" y="189"/>
                    <a:pt x="327" y="189"/>
                  </a:cubicBezTo>
                  <a:moveTo>
                    <a:pt x="141" y="52"/>
                  </a:moveTo>
                  <a:cubicBezTo>
                    <a:pt x="141" y="52"/>
                    <a:pt x="141" y="52"/>
                    <a:pt x="141" y="52"/>
                  </a:cubicBezTo>
                  <a:cubicBezTo>
                    <a:pt x="141" y="52"/>
                    <a:pt x="141" y="52"/>
                    <a:pt x="141" y="52"/>
                  </a:cubicBezTo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4" y="49"/>
                    <a:pt x="137" y="50"/>
                    <a:pt x="140" y="52"/>
                  </a:cubicBezTo>
                  <a:cubicBezTo>
                    <a:pt x="137" y="50"/>
                    <a:pt x="134" y="49"/>
                    <a:pt x="131" y="47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8" name="Freeform 3289"/>
            <p:cNvSpPr/>
            <p:nvPr userDrawn="1"/>
          </p:nvSpPr>
          <p:spPr bwMode="auto">
            <a:xfrm>
              <a:off x="9268152" y="2600657"/>
              <a:ext cx="689677" cy="616773"/>
            </a:xfrm>
            <a:custGeom>
              <a:avLst/>
              <a:gdLst>
                <a:gd name="T0" fmla="*/ 21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5 w 339"/>
                <a:gd name="T7" fmla="*/ 303 h 303"/>
                <a:gd name="T8" fmla="*/ 335 w 339"/>
                <a:gd name="T9" fmla="*/ 264 h 303"/>
                <a:gd name="T10" fmla="*/ 339 w 339"/>
                <a:gd name="T11" fmla="*/ 263 h 303"/>
                <a:gd name="T12" fmla="*/ 217 w 339"/>
                <a:gd name="T13" fmla="*/ 142 h 303"/>
                <a:gd name="T14" fmla="*/ 217 w 339"/>
                <a:gd name="T15" fmla="*/ 142 h 303"/>
                <a:gd name="T16" fmla="*/ 31 w 339"/>
                <a:gd name="T17" fmla="*/ 5 h 303"/>
                <a:gd name="T18" fmla="*/ 31 w 339"/>
                <a:gd name="T19" fmla="*/ 5 h 303"/>
                <a:gd name="T20" fmla="*/ 30 w 339"/>
                <a:gd name="T21" fmla="*/ 5 h 303"/>
                <a:gd name="T22" fmla="*/ 21 w 339"/>
                <a:gd name="T2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9" h="303">
                  <a:moveTo>
                    <a:pt x="21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5" y="303"/>
                  </a:cubicBezTo>
                  <a:cubicBezTo>
                    <a:pt x="298" y="283"/>
                    <a:pt x="321" y="271"/>
                    <a:pt x="335" y="264"/>
                  </a:cubicBezTo>
                  <a:cubicBezTo>
                    <a:pt x="337" y="264"/>
                    <a:pt x="338" y="263"/>
                    <a:pt x="339" y="263"/>
                  </a:cubicBezTo>
                  <a:cubicBezTo>
                    <a:pt x="288" y="205"/>
                    <a:pt x="256" y="171"/>
                    <a:pt x="217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164" y="101"/>
                    <a:pt x="95" y="41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0" y="5"/>
                  </a:cubicBezTo>
                  <a:cubicBezTo>
                    <a:pt x="27" y="3"/>
                    <a:pt x="24" y="2"/>
                    <a:pt x="21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9" name="Freeform 3290"/>
            <p:cNvSpPr/>
            <p:nvPr userDrawn="1"/>
          </p:nvSpPr>
          <p:spPr bwMode="auto">
            <a:xfrm>
              <a:off x="9970952" y="3176603"/>
              <a:ext cx="26246" cy="10207"/>
            </a:xfrm>
            <a:custGeom>
              <a:avLst/>
              <a:gdLst>
                <a:gd name="T0" fmla="*/ 13 w 13"/>
                <a:gd name="T1" fmla="*/ 0 h 5"/>
                <a:gd name="T2" fmla="*/ 0 w 13"/>
                <a:gd name="T3" fmla="*/ 5 h 5"/>
                <a:gd name="T4" fmla="*/ 13 w 13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5">
                  <a:moveTo>
                    <a:pt x="13" y="0"/>
                  </a:moveTo>
                  <a:cubicBezTo>
                    <a:pt x="9" y="1"/>
                    <a:pt x="5" y="3"/>
                    <a:pt x="0" y="5"/>
                  </a:cubicBezTo>
                  <a:cubicBezTo>
                    <a:pt x="5" y="3"/>
                    <a:pt x="9" y="1"/>
                    <a:pt x="1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0" name="Freeform 3291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266830" cy="112274"/>
            </a:xfrm>
            <a:custGeom>
              <a:avLst/>
              <a:gdLst>
                <a:gd name="T0" fmla="*/ 130 w 131"/>
                <a:gd name="T1" fmla="*/ 47 h 55"/>
                <a:gd name="T2" fmla="*/ 110 w 131"/>
                <a:gd name="T3" fmla="*/ 55 h 55"/>
                <a:gd name="T4" fmla="*/ 110 w 131"/>
                <a:gd name="T5" fmla="*/ 55 h 55"/>
                <a:gd name="T6" fmla="*/ 131 w 131"/>
                <a:gd name="T7" fmla="*/ 47 h 55"/>
                <a:gd name="T8" fmla="*/ 131 w 131"/>
                <a:gd name="T9" fmla="*/ 47 h 55"/>
                <a:gd name="T10" fmla="*/ 131 w 131"/>
                <a:gd name="T11" fmla="*/ 47 h 55"/>
                <a:gd name="T12" fmla="*/ 131 w 131"/>
                <a:gd name="T13" fmla="*/ 47 h 55"/>
                <a:gd name="T14" fmla="*/ 130 w 131"/>
                <a:gd name="T15" fmla="*/ 47 h 55"/>
                <a:gd name="T16" fmla="*/ 0 w 131"/>
                <a:gd name="T17" fmla="*/ 0 h 55"/>
                <a:gd name="T18" fmla="*/ 0 w 131"/>
                <a:gd name="T19" fmla="*/ 0 h 55"/>
                <a:gd name="T20" fmla="*/ 0 w 131"/>
                <a:gd name="T21" fmla="*/ 1 h 55"/>
                <a:gd name="T22" fmla="*/ 0 w 131"/>
                <a:gd name="T23" fmla="*/ 1 h 55"/>
                <a:gd name="T24" fmla="*/ 0 w 131"/>
                <a:gd name="T25" fmla="*/ 0 h 55"/>
                <a:gd name="T26" fmla="*/ 1 w 131"/>
                <a:gd name="T27" fmla="*/ 1 h 55"/>
                <a:gd name="T28" fmla="*/ 30 w 131"/>
                <a:gd name="T29" fmla="*/ 15 h 55"/>
                <a:gd name="T30" fmla="*/ 30 w 131"/>
                <a:gd name="T31" fmla="*/ 15 h 55"/>
                <a:gd name="T32" fmla="*/ 102 w 131"/>
                <a:gd name="T33" fmla="*/ 50 h 55"/>
                <a:gd name="T34" fmla="*/ 121 w 131"/>
                <a:gd name="T35" fmla="*/ 42 h 55"/>
                <a:gd name="T36" fmla="*/ 0 w 131"/>
                <a:gd name="T3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55">
                  <a:moveTo>
                    <a:pt x="130" y="47"/>
                  </a:moveTo>
                  <a:cubicBezTo>
                    <a:pt x="125" y="48"/>
                    <a:pt x="118" y="51"/>
                    <a:pt x="110" y="55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8" y="51"/>
                    <a:pt x="125" y="48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0" y="47"/>
                    <a:pt x="130" y="47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9" y="5"/>
                    <a:pt x="19" y="10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6"/>
                    <a:pt x="102" y="50"/>
                  </a:cubicBezTo>
                  <a:cubicBezTo>
                    <a:pt x="109" y="46"/>
                    <a:pt x="116" y="43"/>
                    <a:pt x="121" y="42"/>
                  </a:cubicBezTo>
                  <a:cubicBezTo>
                    <a:pt x="46" y="4"/>
                    <a:pt x="10" y="2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1" name="Freeform 3292"/>
            <p:cNvSpPr/>
            <p:nvPr userDrawn="1"/>
          </p:nvSpPr>
          <p:spPr bwMode="auto">
            <a:xfrm>
              <a:off x="9832433" y="3143067"/>
              <a:ext cx="164764" cy="122480"/>
            </a:xfrm>
            <a:custGeom>
              <a:avLst/>
              <a:gdLst>
                <a:gd name="T0" fmla="*/ 66 w 81"/>
                <a:gd name="T1" fmla="*/ 0 h 60"/>
                <a:gd name="T2" fmla="*/ 66 w 81"/>
                <a:gd name="T3" fmla="*/ 0 h 60"/>
                <a:gd name="T4" fmla="*/ 0 w 81"/>
                <a:gd name="T5" fmla="*/ 41 h 60"/>
                <a:gd name="T6" fmla="*/ 6 w 81"/>
                <a:gd name="T7" fmla="*/ 56 h 60"/>
                <a:gd name="T8" fmla="*/ 6 w 81"/>
                <a:gd name="T9" fmla="*/ 56 h 60"/>
                <a:gd name="T10" fmla="*/ 8 w 81"/>
                <a:gd name="T11" fmla="*/ 60 h 60"/>
                <a:gd name="T12" fmla="*/ 68 w 81"/>
                <a:gd name="T13" fmla="*/ 21 h 60"/>
                <a:gd name="T14" fmla="*/ 81 w 81"/>
                <a:gd name="T15" fmla="*/ 16 h 60"/>
                <a:gd name="T16" fmla="*/ 81 w 81"/>
                <a:gd name="T17" fmla="*/ 16 h 60"/>
                <a:gd name="T18" fmla="*/ 66 w 81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60"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2" y="6"/>
                    <a:pt x="26" y="19"/>
                    <a:pt x="0" y="41"/>
                  </a:cubicBezTo>
                  <a:cubicBezTo>
                    <a:pt x="2" y="46"/>
                    <a:pt x="4" y="51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7"/>
                    <a:pt x="7" y="59"/>
                    <a:pt x="8" y="60"/>
                  </a:cubicBezTo>
                  <a:cubicBezTo>
                    <a:pt x="29" y="41"/>
                    <a:pt x="51" y="28"/>
                    <a:pt x="68" y="21"/>
                  </a:cubicBezTo>
                  <a:cubicBezTo>
                    <a:pt x="73" y="19"/>
                    <a:pt x="77" y="17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76" y="10"/>
                    <a:pt x="71" y="5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2" name="Freeform 3293"/>
            <p:cNvSpPr/>
            <p:nvPr userDrawn="1"/>
          </p:nvSpPr>
          <p:spPr bwMode="auto">
            <a:xfrm>
              <a:off x="9828059" y="3135776"/>
              <a:ext cx="138518" cy="91860"/>
            </a:xfrm>
            <a:custGeom>
              <a:avLst/>
              <a:gdLst>
                <a:gd name="T0" fmla="*/ 64 w 68"/>
                <a:gd name="T1" fmla="*/ 0 h 45"/>
                <a:gd name="T2" fmla="*/ 64 w 68"/>
                <a:gd name="T3" fmla="*/ 0 h 45"/>
                <a:gd name="T4" fmla="*/ 60 w 68"/>
                <a:gd name="T5" fmla="*/ 1 h 45"/>
                <a:gd name="T6" fmla="*/ 0 w 68"/>
                <a:gd name="T7" fmla="*/ 40 h 45"/>
                <a:gd name="T8" fmla="*/ 2 w 68"/>
                <a:gd name="T9" fmla="*/ 45 h 45"/>
                <a:gd name="T10" fmla="*/ 68 w 68"/>
                <a:gd name="T11" fmla="*/ 4 h 45"/>
                <a:gd name="T12" fmla="*/ 68 w 68"/>
                <a:gd name="T13" fmla="*/ 4 h 45"/>
                <a:gd name="T14" fmla="*/ 68 w 68"/>
                <a:gd name="T15" fmla="*/ 4 h 45"/>
                <a:gd name="T16" fmla="*/ 64 w 68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45">
                  <a:moveTo>
                    <a:pt x="64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3" y="0"/>
                    <a:pt x="62" y="1"/>
                    <a:pt x="60" y="1"/>
                  </a:cubicBezTo>
                  <a:cubicBezTo>
                    <a:pt x="46" y="8"/>
                    <a:pt x="23" y="20"/>
                    <a:pt x="0" y="40"/>
                  </a:cubicBezTo>
                  <a:cubicBezTo>
                    <a:pt x="1" y="42"/>
                    <a:pt x="1" y="43"/>
                    <a:pt x="2" y="45"/>
                  </a:cubicBezTo>
                  <a:cubicBezTo>
                    <a:pt x="28" y="23"/>
                    <a:pt x="54" y="10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7" y="2"/>
                    <a:pt x="65" y="1"/>
                    <a:pt x="64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3" name="Freeform 3294"/>
            <p:cNvSpPr/>
            <p:nvPr userDrawn="1"/>
          </p:nvSpPr>
          <p:spPr bwMode="auto">
            <a:xfrm>
              <a:off x="9290023" y="2590450"/>
              <a:ext cx="18955" cy="10207"/>
            </a:xfrm>
            <a:custGeom>
              <a:avLst/>
              <a:gdLst>
                <a:gd name="T0" fmla="*/ 0 w 9"/>
                <a:gd name="T1" fmla="*/ 0 h 5"/>
                <a:gd name="T2" fmla="*/ 0 w 9"/>
                <a:gd name="T3" fmla="*/ 0 h 5"/>
                <a:gd name="T4" fmla="*/ 9 w 9"/>
                <a:gd name="T5" fmla="*/ 5 h 5"/>
                <a:gd name="T6" fmla="*/ 9 w 9"/>
                <a:gd name="T7" fmla="*/ 4 h 5"/>
                <a:gd name="T8" fmla="*/ 0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4" name="Freeform 3295"/>
            <p:cNvSpPr/>
            <p:nvPr userDrawn="1"/>
          </p:nvSpPr>
          <p:spPr bwMode="auto">
            <a:xfrm>
              <a:off x="9176292" y="2606490"/>
              <a:ext cx="91859" cy="78737"/>
            </a:xfrm>
            <a:custGeom>
              <a:avLst/>
              <a:gdLst>
                <a:gd name="T0" fmla="*/ 37 w 45"/>
                <a:gd name="T1" fmla="*/ 0 h 39"/>
                <a:gd name="T2" fmla="*/ 8 w 45"/>
                <a:gd name="T3" fmla="*/ 23 h 39"/>
                <a:gd name="T4" fmla="*/ 8 w 45"/>
                <a:gd name="T5" fmla="*/ 23 h 39"/>
                <a:gd name="T6" fmla="*/ 0 w 45"/>
                <a:gd name="T7" fmla="*/ 31 h 39"/>
                <a:gd name="T8" fmla="*/ 4 w 45"/>
                <a:gd name="T9" fmla="*/ 39 h 39"/>
                <a:gd name="T10" fmla="*/ 13 w 45"/>
                <a:gd name="T11" fmla="*/ 29 h 39"/>
                <a:gd name="T12" fmla="*/ 14 w 45"/>
                <a:gd name="T13" fmla="*/ 29 h 39"/>
                <a:gd name="T14" fmla="*/ 45 w 45"/>
                <a:gd name="T15" fmla="*/ 5 h 39"/>
                <a:gd name="T16" fmla="*/ 37 w 4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9">
                  <a:moveTo>
                    <a:pt x="37" y="0"/>
                  </a:moveTo>
                  <a:cubicBezTo>
                    <a:pt x="27" y="6"/>
                    <a:pt x="17" y="1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5" y="26"/>
                    <a:pt x="2" y="29"/>
                    <a:pt x="0" y="31"/>
                  </a:cubicBezTo>
                  <a:cubicBezTo>
                    <a:pt x="1" y="34"/>
                    <a:pt x="3" y="36"/>
                    <a:pt x="4" y="39"/>
                  </a:cubicBezTo>
                  <a:cubicBezTo>
                    <a:pt x="7" y="36"/>
                    <a:pt x="10" y="32"/>
                    <a:pt x="13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24" y="18"/>
                    <a:pt x="35" y="10"/>
                    <a:pt x="45" y="5"/>
                  </a:cubicBezTo>
                  <a:cubicBezTo>
                    <a:pt x="42" y="3"/>
                    <a:pt x="39" y="2"/>
                    <a:pt x="37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5" name="Freeform 3296"/>
            <p:cNvSpPr/>
            <p:nvPr userDrawn="1"/>
          </p:nvSpPr>
          <p:spPr bwMode="auto">
            <a:xfrm>
              <a:off x="9252113" y="2590450"/>
              <a:ext cx="56865" cy="26246"/>
            </a:xfrm>
            <a:custGeom>
              <a:avLst/>
              <a:gdLst>
                <a:gd name="T0" fmla="*/ 19 w 28"/>
                <a:gd name="T1" fmla="*/ 0 h 13"/>
                <a:gd name="T2" fmla="*/ 0 w 28"/>
                <a:gd name="T3" fmla="*/ 8 h 13"/>
                <a:gd name="T4" fmla="*/ 8 w 28"/>
                <a:gd name="T5" fmla="*/ 13 h 13"/>
                <a:gd name="T6" fmla="*/ 28 w 28"/>
                <a:gd name="T7" fmla="*/ 5 h 13"/>
                <a:gd name="T8" fmla="*/ 19 w 28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3">
                  <a:moveTo>
                    <a:pt x="19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2" y="10"/>
                    <a:pt x="5" y="11"/>
                    <a:pt x="8" y="13"/>
                  </a:cubicBezTo>
                  <a:cubicBezTo>
                    <a:pt x="16" y="9"/>
                    <a:pt x="23" y="6"/>
                    <a:pt x="28" y="5"/>
                  </a:cubicBezTo>
                  <a:cubicBezTo>
                    <a:pt x="25" y="3"/>
                    <a:pt x="22" y="1"/>
                    <a:pt x="19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6" name="Freeform 3297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7" name="Freeform 3298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8" name="Freeform 3299"/>
            <p:cNvSpPr/>
            <p:nvPr userDrawn="1"/>
          </p:nvSpPr>
          <p:spPr bwMode="auto">
            <a:xfrm>
              <a:off x="9139840" y="2688143"/>
              <a:ext cx="223087" cy="400976"/>
            </a:xfrm>
            <a:custGeom>
              <a:avLst/>
              <a:gdLst>
                <a:gd name="T0" fmla="*/ 110 w 110"/>
                <a:gd name="T1" fmla="*/ 197 h 197"/>
                <a:gd name="T2" fmla="*/ 22 w 110"/>
                <a:gd name="T3" fmla="*/ 0 h 197"/>
                <a:gd name="T4" fmla="*/ 0 w 110"/>
                <a:gd name="T5" fmla="*/ 42 h 197"/>
                <a:gd name="T6" fmla="*/ 110 w 110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97">
                  <a:moveTo>
                    <a:pt x="110" y="197"/>
                  </a:moveTo>
                  <a:cubicBezTo>
                    <a:pt x="57" y="130"/>
                    <a:pt x="55" y="53"/>
                    <a:pt x="22" y="0"/>
                  </a:cubicBezTo>
                  <a:cubicBezTo>
                    <a:pt x="9" y="15"/>
                    <a:pt x="2" y="31"/>
                    <a:pt x="0" y="42"/>
                  </a:cubicBezTo>
                  <a:cubicBezTo>
                    <a:pt x="27" y="93"/>
                    <a:pt x="71" y="149"/>
                    <a:pt x="110" y="1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9" name="Freeform 3300"/>
            <p:cNvSpPr/>
            <p:nvPr userDrawn="1"/>
          </p:nvSpPr>
          <p:spPr bwMode="auto">
            <a:xfrm>
              <a:off x="9043606" y="2507339"/>
              <a:ext cx="132686" cy="246418"/>
            </a:xfrm>
            <a:custGeom>
              <a:avLst/>
              <a:gdLst>
                <a:gd name="T0" fmla="*/ 0 w 65"/>
                <a:gd name="T1" fmla="*/ 0 h 121"/>
                <a:gd name="T2" fmla="*/ 42 w 65"/>
                <a:gd name="T3" fmla="*/ 121 h 121"/>
                <a:gd name="T4" fmla="*/ 65 w 65"/>
                <a:gd name="T5" fmla="*/ 80 h 121"/>
                <a:gd name="T6" fmla="*/ 5 w 65"/>
                <a:gd name="T7" fmla="*/ 4 h 121"/>
                <a:gd name="T8" fmla="*/ 1 w 65"/>
                <a:gd name="T9" fmla="*/ 0 h 121"/>
                <a:gd name="T10" fmla="*/ 0 w 65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21">
                  <a:moveTo>
                    <a:pt x="0" y="0"/>
                  </a:moveTo>
                  <a:cubicBezTo>
                    <a:pt x="2" y="11"/>
                    <a:pt x="5" y="47"/>
                    <a:pt x="42" y="121"/>
                  </a:cubicBezTo>
                  <a:cubicBezTo>
                    <a:pt x="45" y="110"/>
                    <a:pt x="53" y="95"/>
                    <a:pt x="65" y="80"/>
                  </a:cubicBezTo>
                  <a:cubicBezTo>
                    <a:pt x="49" y="53"/>
                    <a:pt x="29" y="28"/>
                    <a:pt x="5" y="4"/>
                  </a:cubicBezTo>
                  <a:cubicBezTo>
                    <a:pt x="4" y="3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0" name="Freeform 3301"/>
            <p:cNvSpPr/>
            <p:nvPr userDrawn="1"/>
          </p:nvSpPr>
          <p:spPr bwMode="auto">
            <a:xfrm>
              <a:off x="9043606" y="2504423"/>
              <a:ext cx="1458" cy="291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1" name="Freeform 3302"/>
            <p:cNvSpPr/>
            <p:nvPr userDrawn="1"/>
          </p:nvSpPr>
          <p:spPr bwMode="auto">
            <a:xfrm>
              <a:off x="9139840" y="2753756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2" y="3"/>
                    <a:pt x="1" y="6"/>
                    <a:pt x="0" y="8"/>
                  </a:cubicBezTo>
                  <a:cubicBezTo>
                    <a:pt x="1" y="6"/>
                    <a:pt x="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2" name="Freeform 3303"/>
            <p:cNvSpPr/>
            <p:nvPr userDrawn="1"/>
          </p:nvSpPr>
          <p:spPr bwMode="auto">
            <a:xfrm>
              <a:off x="9139840" y="2685226"/>
              <a:ext cx="43743" cy="86028"/>
            </a:xfrm>
            <a:custGeom>
              <a:avLst/>
              <a:gdLst>
                <a:gd name="T0" fmla="*/ 22 w 22"/>
                <a:gd name="T1" fmla="*/ 0 h 42"/>
                <a:gd name="T2" fmla="*/ 0 w 22"/>
                <a:gd name="T3" fmla="*/ 42 h 42"/>
                <a:gd name="T4" fmla="*/ 0 w 22"/>
                <a:gd name="T5" fmla="*/ 42 h 42"/>
                <a:gd name="T6" fmla="*/ 0 w 22"/>
                <a:gd name="T7" fmla="*/ 41 h 42"/>
                <a:gd name="T8" fmla="*/ 3 w 22"/>
                <a:gd name="T9" fmla="*/ 33 h 42"/>
                <a:gd name="T10" fmla="*/ 22 w 22"/>
                <a:gd name="T11" fmla="*/ 1 h 42"/>
                <a:gd name="T12" fmla="*/ 22 w 22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22" y="0"/>
                  </a:moveTo>
                  <a:cubicBezTo>
                    <a:pt x="9" y="15"/>
                    <a:pt x="2" y="31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1" y="39"/>
                    <a:pt x="2" y="36"/>
                    <a:pt x="3" y="33"/>
                  </a:cubicBezTo>
                  <a:cubicBezTo>
                    <a:pt x="7" y="23"/>
                    <a:pt x="13" y="12"/>
                    <a:pt x="22" y="1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3" name="Freeform 3304"/>
            <p:cNvSpPr/>
            <p:nvPr userDrawn="1"/>
          </p:nvSpPr>
          <p:spPr bwMode="auto">
            <a:xfrm>
              <a:off x="9129633" y="2669187"/>
              <a:ext cx="53949" cy="102066"/>
            </a:xfrm>
            <a:custGeom>
              <a:avLst/>
              <a:gdLst>
                <a:gd name="T0" fmla="*/ 23 w 27"/>
                <a:gd name="T1" fmla="*/ 0 h 50"/>
                <a:gd name="T2" fmla="*/ 0 w 27"/>
                <a:gd name="T3" fmla="*/ 41 h 50"/>
                <a:gd name="T4" fmla="*/ 5 w 27"/>
                <a:gd name="T5" fmla="*/ 50 h 50"/>
                <a:gd name="T6" fmla="*/ 27 w 27"/>
                <a:gd name="T7" fmla="*/ 8 h 50"/>
                <a:gd name="T8" fmla="*/ 23 w 2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0">
                  <a:moveTo>
                    <a:pt x="23" y="0"/>
                  </a:moveTo>
                  <a:cubicBezTo>
                    <a:pt x="11" y="15"/>
                    <a:pt x="3" y="30"/>
                    <a:pt x="0" y="41"/>
                  </a:cubicBezTo>
                  <a:cubicBezTo>
                    <a:pt x="1" y="44"/>
                    <a:pt x="3" y="47"/>
                    <a:pt x="5" y="50"/>
                  </a:cubicBezTo>
                  <a:cubicBezTo>
                    <a:pt x="7" y="39"/>
                    <a:pt x="14" y="23"/>
                    <a:pt x="27" y="8"/>
                  </a:cubicBezTo>
                  <a:cubicBezTo>
                    <a:pt x="26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4" name="Freeform 3305"/>
            <p:cNvSpPr/>
            <p:nvPr userDrawn="1"/>
          </p:nvSpPr>
          <p:spPr bwMode="auto">
            <a:xfrm>
              <a:off x="8575559" y="4418898"/>
              <a:ext cx="628437" cy="625522"/>
            </a:xfrm>
            <a:custGeom>
              <a:avLst/>
              <a:gdLst>
                <a:gd name="T0" fmla="*/ 10 w 309"/>
                <a:gd name="T1" fmla="*/ 10 h 307"/>
                <a:gd name="T2" fmla="*/ 45 w 309"/>
                <a:gd name="T3" fmla="*/ 145 h 307"/>
                <a:gd name="T4" fmla="*/ 299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7 w 309"/>
                <a:gd name="T11" fmla="*/ 45 h 307"/>
                <a:gd name="T12" fmla="*/ 10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0" y="10"/>
                  </a:moveTo>
                  <a:cubicBezTo>
                    <a:pt x="0" y="31"/>
                    <a:pt x="3" y="94"/>
                    <a:pt x="45" y="145"/>
                  </a:cubicBezTo>
                  <a:cubicBezTo>
                    <a:pt x="86" y="200"/>
                    <a:pt x="165" y="242"/>
                    <a:pt x="299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7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7" y="45"/>
                  </a:cubicBezTo>
                  <a:cubicBezTo>
                    <a:pt x="96" y="4"/>
                    <a:pt x="32" y="0"/>
                    <a:pt x="10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5" name="Freeform 3306"/>
            <p:cNvSpPr/>
            <p:nvPr userDrawn="1"/>
          </p:nvSpPr>
          <p:spPr bwMode="auto">
            <a:xfrm>
              <a:off x="8578475" y="4423272"/>
              <a:ext cx="479712" cy="473880"/>
            </a:xfrm>
            <a:custGeom>
              <a:avLst/>
              <a:gdLst>
                <a:gd name="T0" fmla="*/ 9 w 235"/>
                <a:gd name="T1" fmla="*/ 8 h 233"/>
                <a:gd name="T2" fmla="*/ 35 w 235"/>
                <a:gd name="T3" fmla="*/ 111 h 233"/>
                <a:gd name="T4" fmla="*/ 228 w 235"/>
                <a:gd name="T5" fmla="*/ 230 h 233"/>
                <a:gd name="T6" fmla="*/ 235 w 235"/>
                <a:gd name="T7" fmla="*/ 233 h 233"/>
                <a:gd name="T8" fmla="*/ 232 w 235"/>
                <a:gd name="T9" fmla="*/ 226 h 233"/>
                <a:gd name="T10" fmla="*/ 113 w 235"/>
                <a:gd name="T11" fmla="*/ 35 h 233"/>
                <a:gd name="T12" fmla="*/ 9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9" y="8"/>
                  </a:moveTo>
                  <a:cubicBezTo>
                    <a:pt x="0" y="23"/>
                    <a:pt x="3" y="72"/>
                    <a:pt x="35" y="111"/>
                  </a:cubicBezTo>
                  <a:cubicBezTo>
                    <a:pt x="66" y="152"/>
                    <a:pt x="126" y="184"/>
                    <a:pt x="228" y="230"/>
                  </a:cubicBezTo>
                  <a:cubicBezTo>
                    <a:pt x="230" y="231"/>
                    <a:pt x="233" y="232"/>
                    <a:pt x="235" y="233"/>
                  </a:cubicBezTo>
                  <a:cubicBezTo>
                    <a:pt x="234" y="231"/>
                    <a:pt x="233" y="229"/>
                    <a:pt x="232" y="226"/>
                  </a:cubicBezTo>
                  <a:cubicBezTo>
                    <a:pt x="187" y="125"/>
                    <a:pt x="155" y="66"/>
                    <a:pt x="113" y="35"/>
                  </a:cubicBezTo>
                  <a:cubicBezTo>
                    <a:pt x="74" y="3"/>
                    <a:pt x="25" y="0"/>
                    <a:pt x="9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6" name="Freeform 3307"/>
            <p:cNvSpPr/>
            <p:nvPr userDrawn="1"/>
          </p:nvSpPr>
          <p:spPr bwMode="auto">
            <a:xfrm>
              <a:off x="8585766" y="4427646"/>
              <a:ext cx="335361" cy="333903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1 h 164"/>
                <a:gd name="T6" fmla="*/ 165 w 165"/>
                <a:gd name="T7" fmla="*/ 164 h 164"/>
                <a:gd name="T8" fmla="*/ 162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29"/>
                    <a:pt x="160" y="161"/>
                  </a:cubicBezTo>
                  <a:cubicBezTo>
                    <a:pt x="161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2" y="159"/>
                  </a:cubicBezTo>
                  <a:cubicBezTo>
                    <a:pt x="130" y="88"/>
                    <a:pt x="108" y="46"/>
                    <a:pt x="79" y="25"/>
                  </a:cubicBezTo>
                  <a:cubicBezTo>
                    <a:pt x="51" y="2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7" name="Freeform 3308"/>
            <p:cNvSpPr/>
            <p:nvPr userDrawn="1"/>
          </p:nvSpPr>
          <p:spPr bwMode="auto">
            <a:xfrm>
              <a:off x="7950038" y="3790460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1 w 402"/>
                <a:gd name="T3" fmla="*/ 32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2 h 403"/>
                <a:gd name="T14" fmla="*/ 279 w 402"/>
                <a:gd name="T15" fmla="*/ 141 h 403"/>
                <a:gd name="T16" fmla="*/ 83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13" y="51"/>
                    <a:pt x="2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1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5" y="269"/>
                    <a:pt x="402" y="262"/>
                  </a:cubicBezTo>
                  <a:cubicBezTo>
                    <a:pt x="351" y="205"/>
                    <a:pt x="319" y="171"/>
                    <a:pt x="279" y="141"/>
                  </a:cubicBezTo>
                  <a:cubicBezTo>
                    <a:pt x="223" y="98"/>
                    <a:pt x="150" y="34"/>
                    <a:pt x="83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8" name="Freeform 3309"/>
            <p:cNvSpPr/>
            <p:nvPr userDrawn="1"/>
          </p:nvSpPr>
          <p:spPr bwMode="auto">
            <a:xfrm>
              <a:off x="7852345" y="3695684"/>
              <a:ext cx="266830" cy="265373"/>
            </a:xfrm>
            <a:custGeom>
              <a:avLst/>
              <a:gdLst>
                <a:gd name="T0" fmla="*/ 0 w 131"/>
                <a:gd name="T1" fmla="*/ 0 h 131"/>
                <a:gd name="T2" fmla="*/ 48 w 131"/>
                <a:gd name="T3" fmla="*/ 131 h 131"/>
                <a:gd name="T4" fmla="*/ 79 w 131"/>
                <a:gd name="T5" fmla="*/ 79 h 131"/>
                <a:gd name="T6" fmla="*/ 80 w 131"/>
                <a:gd name="T7" fmla="*/ 79 h 131"/>
                <a:gd name="T8" fmla="*/ 131 w 131"/>
                <a:gd name="T9" fmla="*/ 47 h 131"/>
                <a:gd name="T10" fmla="*/ 0 w 13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0" y="0"/>
                  </a:moveTo>
                  <a:cubicBezTo>
                    <a:pt x="2" y="11"/>
                    <a:pt x="5" y="50"/>
                    <a:pt x="48" y="131"/>
                  </a:cubicBezTo>
                  <a:cubicBezTo>
                    <a:pt x="50" y="119"/>
                    <a:pt x="61" y="98"/>
                    <a:pt x="79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98" y="60"/>
                    <a:pt x="119" y="49"/>
                    <a:pt x="131" y="47"/>
                  </a:cubicBezTo>
                  <a:cubicBezTo>
                    <a:pt x="50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9" name="Freeform 3310"/>
            <p:cNvSpPr/>
            <p:nvPr userDrawn="1"/>
          </p:nvSpPr>
          <p:spPr bwMode="auto">
            <a:xfrm>
              <a:off x="8483699" y="4324121"/>
              <a:ext cx="322238" cy="323696"/>
            </a:xfrm>
            <a:custGeom>
              <a:avLst/>
              <a:gdLst>
                <a:gd name="T0" fmla="*/ 0 w 158"/>
                <a:gd name="T1" fmla="*/ 141 h 159"/>
                <a:gd name="T2" fmla="*/ 4 w 158"/>
                <a:gd name="T3" fmla="*/ 145 h 159"/>
                <a:gd name="T4" fmla="*/ 20 w 158"/>
                <a:gd name="T5" fmla="*/ 159 h 159"/>
                <a:gd name="T6" fmla="*/ 74 w 158"/>
                <a:gd name="T7" fmla="*/ 76 h 159"/>
                <a:gd name="T8" fmla="*/ 75 w 158"/>
                <a:gd name="T9" fmla="*/ 75 h 159"/>
                <a:gd name="T10" fmla="*/ 158 w 158"/>
                <a:gd name="T11" fmla="*/ 21 h 159"/>
                <a:gd name="T12" fmla="*/ 144 w 158"/>
                <a:gd name="T13" fmla="*/ 4 h 159"/>
                <a:gd name="T14" fmla="*/ 140 w 158"/>
                <a:gd name="T15" fmla="*/ 0 h 159"/>
                <a:gd name="T16" fmla="*/ 57 w 158"/>
                <a:gd name="T17" fmla="*/ 58 h 159"/>
                <a:gd name="T18" fmla="*/ 0 w 158"/>
                <a:gd name="T19" fmla="*/ 14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0" y="141"/>
                  </a:moveTo>
                  <a:cubicBezTo>
                    <a:pt x="1" y="142"/>
                    <a:pt x="3" y="143"/>
                    <a:pt x="4" y="145"/>
                  </a:cubicBezTo>
                  <a:cubicBezTo>
                    <a:pt x="9" y="149"/>
                    <a:pt x="15" y="154"/>
                    <a:pt x="20" y="159"/>
                  </a:cubicBezTo>
                  <a:cubicBezTo>
                    <a:pt x="27" y="139"/>
                    <a:pt x="45" y="10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7"/>
                    <a:pt x="158" y="21"/>
                  </a:cubicBezTo>
                  <a:cubicBezTo>
                    <a:pt x="153" y="15"/>
                    <a:pt x="148" y="10"/>
                    <a:pt x="144" y="4"/>
                  </a:cubicBezTo>
                  <a:cubicBezTo>
                    <a:pt x="142" y="3"/>
                    <a:pt x="141" y="2"/>
                    <a:pt x="140" y="0"/>
                  </a:cubicBezTo>
                  <a:cubicBezTo>
                    <a:pt x="123" y="7"/>
                    <a:pt x="89" y="25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0" name="Freeform 3311"/>
            <p:cNvSpPr/>
            <p:nvPr userDrawn="1"/>
          </p:nvSpPr>
          <p:spPr bwMode="auto">
            <a:xfrm>
              <a:off x="8490989" y="46186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1" name="Freeform 3312"/>
            <p:cNvSpPr>
              <a:spLocks noEditPoints="1"/>
            </p:cNvSpPr>
            <p:nvPr userDrawn="1"/>
          </p:nvSpPr>
          <p:spPr bwMode="auto">
            <a:xfrm>
              <a:off x="8483699" y="4324121"/>
              <a:ext cx="291618" cy="294535"/>
            </a:xfrm>
            <a:custGeom>
              <a:avLst/>
              <a:gdLst>
                <a:gd name="T0" fmla="*/ 75 w 143"/>
                <a:gd name="T1" fmla="*/ 41 h 145"/>
                <a:gd name="T2" fmla="*/ 57 w 143"/>
                <a:gd name="T3" fmla="*/ 58 h 145"/>
                <a:gd name="T4" fmla="*/ 0 w 143"/>
                <a:gd name="T5" fmla="*/ 141 h 145"/>
                <a:gd name="T6" fmla="*/ 4 w 143"/>
                <a:gd name="T7" fmla="*/ 145 h 145"/>
                <a:gd name="T8" fmla="*/ 4 w 143"/>
                <a:gd name="T9" fmla="*/ 145 h 145"/>
                <a:gd name="T10" fmla="*/ 4 w 143"/>
                <a:gd name="T11" fmla="*/ 145 h 145"/>
                <a:gd name="T12" fmla="*/ 61 w 143"/>
                <a:gd name="T13" fmla="*/ 62 h 145"/>
                <a:gd name="T14" fmla="*/ 78 w 143"/>
                <a:gd name="T15" fmla="*/ 46 h 145"/>
                <a:gd name="T16" fmla="*/ 75 w 143"/>
                <a:gd name="T17" fmla="*/ 41 h 145"/>
                <a:gd name="T18" fmla="*/ 140 w 143"/>
                <a:gd name="T19" fmla="*/ 0 h 145"/>
                <a:gd name="T20" fmla="*/ 140 w 143"/>
                <a:gd name="T21" fmla="*/ 0 h 145"/>
                <a:gd name="T22" fmla="*/ 143 w 143"/>
                <a:gd name="T23" fmla="*/ 4 h 145"/>
                <a:gd name="T24" fmla="*/ 140 w 143"/>
                <a:gd name="T2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45">
                  <a:moveTo>
                    <a:pt x="75" y="41"/>
                  </a:moveTo>
                  <a:cubicBezTo>
                    <a:pt x="69" y="46"/>
                    <a:pt x="63" y="51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  <a:cubicBezTo>
                    <a:pt x="1" y="142"/>
                    <a:pt x="3" y="143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11" y="127"/>
                    <a:pt x="29" y="93"/>
                    <a:pt x="61" y="62"/>
                  </a:cubicBezTo>
                  <a:cubicBezTo>
                    <a:pt x="66" y="56"/>
                    <a:pt x="72" y="51"/>
                    <a:pt x="78" y="46"/>
                  </a:cubicBezTo>
                  <a:cubicBezTo>
                    <a:pt x="77" y="44"/>
                    <a:pt x="76" y="42"/>
                    <a:pt x="75" y="41"/>
                  </a:cubicBezTo>
                  <a:moveTo>
                    <a:pt x="14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1" y="2"/>
                    <a:pt x="142" y="3"/>
                    <a:pt x="143" y="4"/>
                  </a:cubicBezTo>
                  <a:cubicBezTo>
                    <a:pt x="142" y="3"/>
                    <a:pt x="141" y="2"/>
                    <a:pt x="14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2" name="Freeform 3313"/>
            <p:cNvSpPr/>
            <p:nvPr userDrawn="1"/>
          </p:nvSpPr>
          <p:spPr bwMode="auto">
            <a:xfrm>
              <a:off x="7852345" y="3695684"/>
              <a:ext cx="0" cy="1459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3" name="Freeform 3314"/>
            <p:cNvSpPr/>
            <p:nvPr userDrawn="1"/>
          </p:nvSpPr>
          <p:spPr bwMode="auto">
            <a:xfrm>
              <a:off x="7852345" y="3695684"/>
              <a:ext cx="247876" cy="100609"/>
            </a:xfrm>
            <a:custGeom>
              <a:avLst/>
              <a:gdLst>
                <a:gd name="T0" fmla="*/ 0 w 122"/>
                <a:gd name="T1" fmla="*/ 0 h 50"/>
                <a:gd name="T2" fmla="*/ 0 w 122"/>
                <a:gd name="T3" fmla="*/ 0 h 50"/>
                <a:gd name="T4" fmla="*/ 0 w 122"/>
                <a:gd name="T5" fmla="*/ 1 h 50"/>
                <a:gd name="T6" fmla="*/ 0 w 122"/>
                <a:gd name="T7" fmla="*/ 1 h 50"/>
                <a:gd name="T8" fmla="*/ 0 w 122"/>
                <a:gd name="T9" fmla="*/ 0 h 50"/>
                <a:gd name="T10" fmla="*/ 2 w 122"/>
                <a:gd name="T11" fmla="*/ 1 h 50"/>
                <a:gd name="T12" fmla="*/ 30 w 122"/>
                <a:gd name="T13" fmla="*/ 15 h 50"/>
                <a:gd name="T14" fmla="*/ 30 w 122"/>
                <a:gd name="T15" fmla="*/ 15 h 50"/>
                <a:gd name="T16" fmla="*/ 102 w 122"/>
                <a:gd name="T17" fmla="*/ 50 h 50"/>
                <a:gd name="T18" fmla="*/ 122 w 122"/>
                <a:gd name="T19" fmla="*/ 42 h 50"/>
                <a:gd name="T20" fmla="*/ 0 w 122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10" y="5"/>
                    <a:pt x="20" y="9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5"/>
                    <a:pt x="102" y="50"/>
                  </a:cubicBezTo>
                  <a:cubicBezTo>
                    <a:pt x="109" y="46"/>
                    <a:pt x="116" y="43"/>
                    <a:pt x="122" y="42"/>
                  </a:cubicBezTo>
                  <a:cubicBezTo>
                    <a:pt x="47" y="4"/>
                    <a:pt x="11" y="1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4" name="Freeform 3315"/>
            <p:cNvSpPr/>
            <p:nvPr userDrawn="1"/>
          </p:nvSpPr>
          <p:spPr bwMode="auto">
            <a:xfrm>
              <a:off x="8119176" y="3790460"/>
              <a:ext cx="156015" cy="97693"/>
            </a:xfrm>
            <a:custGeom>
              <a:avLst/>
              <a:gdLst>
                <a:gd name="T0" fmla="*/ 0 w 77"/>
                <a:gd name="T1" fmla="*/ 0 h 48"/>
                <a:gd name="T2" fmla="*/ 0 w 77"/>
                <a:gd name="T3" fmla="*/ 0 h 48"/>
                <a:gd name="T4" fmla="*/ 77 w 77"/>
                <a:gd name="T5" fmla="*/ 48 h 48"/>
                <a:gd name="T6" fmla="*/ 77 w 77"/>
                <a:gd name="T7" fmla="*/ 48 h 48"/>
                <a:gd name="T8" fmla="*/ 0 w 77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4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3"/>
                    <a:pt x="51" y="30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51" y="30"/>
                    <a:pt x="25" y="1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5" name="Freeform 3316"/>
            <p:cNvSpPr/>
            <p:nvPr userDrawn="1"/>
          </p:nvSpPr>
          <p:spPr bwMode="auto">
            <a:xfrm>
              <a:off x="8393298" y="3980012"/>
              <a:ext cx="107899" cy="86028"/>
            </a:xfrm>
            <a:custGeom>
              <a:avLst/>
              <a:gdLst>
                <a:gd name="T0" fmla="*/ 0 w 53"/>
                <a:gd name="T1" fmla="*/ 0 h 42"/>
                <a:gd name="T2" fmla="*/ 0 w 53"/>
                <a:gd name="T3" fmla="*/ 0 h 42"/>
                <a:gd name="T4" fmla="*/ 53 w 53"/>
                <a:gd name="T5" fmla="*/ 42 h 42"/>
                <a:gd name="T6" fmla="*/ 0 w 5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4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15"/>
                    <a:pt x="36" y="29"/>
                    <a:pt x="53" y="42"/>
                  </a:cubicBezTo>
                  <a:cubicBezTo>
                    <a:pt x="36" y="29"/>
                    <a:pt x="19" y="15"/>
                    <a:pt x="0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6" name="Freeform 3317"/>
            <p:cNvSpPr/>
            <p:nvPr userDrawn="1"/>
          </p:nvSpPr>
          <p:spPr bwMode="auto">
            <a:xfrm>
              <a:off x="8275192" y="3888152"/>
              <a:ext cx="118105" cy="91860"/>
            </a:xfrm>
            <a:custGeom>
              <a:avLst/>
              <a:gdLst>
                <a:gd name="T0" fmla="*/ 0 w 58"/>
                <a:gd name="T1" fmla="*/ 0 h 45"/>
                <a:gd name="T2" fmla="*/ 0 w 58"/>
                <a:gd name="T3" fmla="*/ 0 h 45"/>
                <a:gd name="T4" fmla="*/ 58 w 58"/>
                <a:gd name="T5" fmla="*/ 45 h 45"/>
                <a:gd name="T6" fmla="*/ 58 w 58"/>
                <a:gd name="T7" fmla="*/ 45 h 45"/>
                <a:gd name="T8" fmla="*/ 0 w 58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15"/>
                    <a:pt x="39" y="30"/>
                    <a:pt x="58" y="4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39" y="30"/>
                    <a:pt x="20" y="15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7" name="Freeform 3318"/>
            <p:cNvSpPr/>
            <p:nvPr userDrawn="1"/>
          </p:nvSpPr>
          <p:spPr bwMode="auto">
            <a:xfrm>
              <a:off x="8078350" y="3790460"/>
              <a:ext cx="689677" cy="616773"/>
            </a:xfrm>
            <a:custGeom>
              <a:avLst/>
              <a:gdLst>
                <a:gd name="T0" fmla="*/ 20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4 w 339"/>
                <a:gd name="T7" fmla="*/ 303 h 303"/>
                <a:gd name="T8" fmla="*/ 339 w 339"/>
                <a:gd name="T9" fmla="*/ 262 h 303"/>
                <a:gd name="T10" fmla="*/ 337 w 339"/>
                <a:gd name="T11" fmla="*/ 260 h 303"/>
                <a:gd name="T12" fmla="*/ 216 w 339"/>
                <a:gd name="T13" fmla="*/ 141 h 303"/>
                <a:gd name="T14" fmla="*/ 216 w 339"/>
                <a:gd name="T15" fmla="*/ 141 h 303"/>
                <a:gd name="T16" fmla="*/ 213 w 339"/>
                <a:gd name="T17" fmla="*/ 139 h 303"/>
                <a:gd name="T18" fmla="*/ 210 w 339"/>
                <a:gd name="T19" fmla="*/ 137 h 303"/>
                <a:gd name="T20" fmla="*/ 209 w 339"/>
                <a:gd name="T21" fmla="*/ 136 h 303"/>
                <a:gd name="T22" fmla="*/ 208 w 339"/>
                <a:gd name="T23" fmla="*/ 135 h 303"/>
                <a:gd name="T24" fmla="*/ 155 w 339"/>
                <a:gd name="T25" fmla="*/ 93 h 303"/>
                <a:gd name="T26" fmla="*/ 155 w 339"/>
                <a:gd name="T27" fmla="*/ 93 h 303"/>
                <a:gd name="T28" fmla="*/ 97 w 339"/>
                <a:gd name="T29" fmla="*/ 48 h 303"/>
                <a:gd name="T30" fmla="*/ 20 w 339"/>
                <a:gd name="T31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9" h="303">
                  <a:moveTo>
                    <a:pt x="20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4" y="303"/>
                  </a:cubicBezTo>
                  <a:cubicBezTo>
                    <a:pt x="300" y="281"/>
                    <a:pt x="325" y="268"/>
                    <a:pt x="339" y="262"/>
                  </a:cubicBezTo>
                  <a:cubicBezTo>
                    <a:pt x="338" y="262"/>
                    <a:pt x="338" y="261"/>
                    <a:pt x="337" y="260"/>
                  </a:cubicBezTo>
                  <a:cubicBezTo>
                    <a:pt x="287" y="204"/>
                    <a:pt x="255" y="171"/>
                    <a:pt x="216" y="141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5" y="141"/>
                    <a:pt x="214" y="140"/>
                    <a:pt x="213" y="139"/>
                  </a:cubicBezTo>
                  <a:cubicBezTo>
                    <a:pt x="212" y="138"/>
                    <a:pt x="211" y="137"/>
                    <a:pt x="210" y="137"/>
                  </a:cubicBezTo>
                  <a:cubicBezTo>
                    <a:pt x="210" y="136"/>
                    <a:pt x="209" y="136"/>
                    <a:pt x="209" y="136"/>
                  </a:cubicBezTo>
                  <a:cubicBezTo>
                    <a:pt x="209" y="136"/>
                    <a:pt x="208" y="135"/>
                    <a:pt x="208" y="135"/>
                  </a:cubicBezTo>
                  <a:cubicBezTo>
                    <a:pt x="191" y="122"/>
                    <a:pt x="174" y="108"/>
                    <a:pt x="155" y="93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36" y="78"/>
                    <a:pt x="117" y="63"/>
                    <a:pt x="97" y="48"/>
                  </a:cubicBezTo>
                  <a:cubicBezTo>
                    <a:pt x="71" y="30"/>
                    <a:pt x="45" y="13"/>
                    <a:pt x="2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8" name="Freeform 3319"/>
            <p:cNvSpPr/>
            <p:nvPr userDrawn="1"/>
          </p:nvSpPr>
          <p:spPr bwMode="auto">
            <a:xfrm>
              <a:off x="8075434" y="3789001"/>
              <a:ext cx="43743" cy="17497"/>
            </a:xfrm>
            <a:custGeom>
              <a:avLst/>
              <a:gdLst>
                <a:gd name="T0" fmla="*/ 21 w 21"/>
                <a:gd name="T1" fmla="*/ 0 h 9"/>
                <a:gd name="T2" fmla="*/ 0 w 21"/>
                <a:gd name="T3" fmla="*/ 9 h 9"/>
                <a:gd name="T4" fmla="*/ 1 w 21"/>
                <a:gd name="T5" fmla="*/ 9 h 9"/>
                <a:gd name="T6" fmla="*/ 21 w 21"/>
                <a:gd name="T7" fmla="*/ 1 h 9"/>
                <a:gd name="T8" fmla="*/ 21 w 21"/>
                <a:gd name="T9" fmla="*/ 1 h 9"/>
                <a:gd name="T10" fmla="*/ 21 w 21"/>
                <a:gd name="T11" fmla="*/ 1 h 9"/>
                <a:gd name="T12" fmla="*/ 21 w 21"/>
                <a:gd name="T13" fmla="*/ 1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15" y="2"/>
                    <a:pt x="8" y="4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9" y="5"/>
                    <a:pt x="16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0"/>
                    <a:pt x="21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9" name="Freeform 3320"/>
            <p:cNvSpPr/>
            <p:nvPr userDrawn="1"/>
          </p:nvSpPr>
          <p:spPr bwMode="auto">
            <a:xfrm>
              <a:off x="8782607" y="4366407"/>
              <a:ext cx="23329" cy="8749"/>
            </a:xfrm>
            <a:custGeom>
              <a:avLst/>
              <a:gdLst>
                <a:gd name="T0" fmla="*/ 11 w 11"/>
                <a:gd name="T1" fmla="*/ 0 h 4"/>
                <a:gd name="T2" fmla="*/ 0 w 11"/>
                <a:gd name="T3" fmla="*/ 4 h 4"/>
                <a:gd name="T4" fmla="*/ 11 w 1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cubicBezTo>
                    <a:pt x="8" y="1"/>
                    <a:pt x="4" y="2"/>
                    <a:pt x="0" y="4"/>
                  </a:cubicBezTo>
                  <a:cubicBezTo>
                    <a:pt x="4" y="2"/>
                    <a:pt x="8" y="1"/>
                    <a:pt x="1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0" name="Freeform 3321"/>
            <p:cNvSpPr/>
            <p:nvPr userDrawn="1"/>
          </p:nvSpPr>
          <p:spPr bwMode="auto">
            <a:xfrm>
              <a:off x="8642631" y="4331412"/>
              <a:ext cx="163306" cy="123938"/>
            </a:xfrm>
            <a:custGeom>
              <a:avLst/>
              <a:gdLst>
                <a:gd name="T0" fmla="*/ 66 w 80"/>
                <a:gd name="T1" fmla="*/ 0 h 61"/>
                <a:gd name="T2" fmla="*/ 66 w 80"/>
                <a:gd name="T3" fmla="*/ 1 h 61"/>
                <a:gd name="T4" fmla="*/ 0 w 80"/>
                <a:gd name="T5" fmla="*/ 42 h 61"/>
                <a:gd name="T6" fmla="*/ 6 w 80"/>
                <a:gd name="T7" fmla="*/ 57 h 61"/>
                <a:gd name="T8" fmla="*/ 7 w 80"/>
                <a:gd name="T9" fmla="*/ 61 h 61"/>
                <a:gd name="T10" fmla="*/ 69 w 80"/>
                <a:gd name="T11" fmla="*/ 21 h 61"/>
                <a:gd name="T12" fmla="*/ 80 w 80"/>
                <a:gd name="T13" fmla="*/ 17 h 61"/>
                <a:gd name="T14" fmla="*/ 80 w 80"/>
                <a:gd name="T15" fmla="*/ 17 h 61"/>
                <a:gd name="T16" fmla="*/ 66 w 8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1">
                  <a:moveTo>
                    <a:pt x="66" y="0"/>
                  </a:moveTo>
                  <a:cubicBezTo>
                    <a:pt x="66" y="1"/>
                    <a:pt x="66" y="1"/>
                    <a:pt x="66" y="1"/>
                  </a:cubicBezTo>
                  <a:cubicBezTo>
                    <a:pt x="52" y="6"/>
                    <a:pt x="26" y="20"/>
                    <a:pt x="0" y="42"/>
                  </a:cubicBezTo>
                  <a:cubicBezTo>
                    <a:pt x="2" y="47"/>
                    <a:pt x="4" y="52"/>
                    <a:pt x="6" y="57"/>
                  </a:cubicBezTo>
                  <a:cubicBezTo>
                    <a:pt x="6" y="58"/>
                    <a:pt x="7" y="60"/>
                    <a:pt x="7" y="61"/>
                  </a:cubicBezTo>
                  <a:cubicBezTo>
                    <a:pt x="29" y="41"/>
                    <a:pt x="52" y="28"/>
                    <a:pt x="69" y="21"/>
                  </a:cubicBezTo>
                  <a:cubicBezTo>
                    <a:pt x="73" y="19"/>
                    <a:pt x="77" y="18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5" y="11"/>
                    <a:pt x="70" y="6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1" name="Freeform 3322"/>
            <p:cNvSpPr/>
            <p:nvPr userDrawn="1"/>
          </p:nvSpPr>
          <p:spPr bwMode="auto">
            <a:xfrm>
              <a:off x="8636798" y="4324121"/>
              <a:ext cx="139977" cy="93318"/>
            </a:xfrm>
            <a:custGeom>
              <a:avLst/>
              <a:gdLst>
                <a:gd name="T0" fmla="*/ 65 w 69"/>
                <a:gd name="T1" fmla="*/ 0 h 46"/>
                <a:gd name="T2" fmla="*/ 65 w 69"/>
                <a:gd name="T3" fmla="*/ 0 h 46"/>
                <a:gd name="T4" fmla="*/ 0 w 69"/>
                <a:gd name="T5" fmla="*/ 41 h 46"/>
                <a:gd name="T6" fmla="*/ 3 w 69"/>
                <a:gd name="T7" fmla="*/ 46 h 46"/>
                <a:gd name="T8" fmla="*/ 69 w 69"/>
                <a:gd name="T9" fmla="*/ 5 h 46"/>
                <a:gd name="T10" fmla="*/ 69 w 69"/>
                <a:gd name="T11" fmla="*/ 4 h 46"/>
                <a:gd name="T12" fmla="*/ 69 w 69"/>
                <a:gd name="T13" fmla="*/ 4 h 46"/>
                <a:gd name="T14" fmla="*/ 68 w 69"/>
                <a:gd name="T15" fmla="*/ 4 h 46"/>
                <a:gd name="T16" fmla="*/ 65 w 69"/>
                <a:gd name="T17" fmla="*/ 0 h 46"/>
                <a:gd name="T18" fmla="*/ 65 w 69"/>
                <a:gd name="T19" fmla="*/ 0 h 46"/>
                <a:gd name="T20" fmla="*/ 65 w 69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46">
                  <a:moveTo>
                    <a:pt x="65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51" y="6"/>
                    <a:pt x="26" y="19"/>
                    <a:pt x="0" y="41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29" y="24"/>
                    <a:pt x="55" y="10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8" y="4"/>
                    <a:pt x="68" y="4"/>
                  </a:cubicBezTo>
                  <a:cubicBezTo>
                    <a:pt x="67" y="3"/>
                    <a:pt x="66" y="2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2" name="Freeform 3323"/>
            <p:cNvSpPr/>
            <p:nvPr userDrawn="1"/>
          </p:nvSpPr>
          <p:spPr bwMode="auto">
            <a:xfrm>
              <a:off x="8100221" y="3780253"/>
              <a:ext cx="18955" cy="8749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0 h 4"/>
                <a:gd name="T4" fmla="*/ 9 w 9"/>
                <a:gd name="T5" fmla="*/ 4 h 4"/>
                <a:gd name="T6" fmla="*/ 9 w 9"/>
                <a:gd name="T7" fmla="*/ 4 h 4"/>
                <a:gd name="T8" fmla="*/ 0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3" name="Freeform 3324"/>
            <p:cNvSpPr/>
            <p:nvPr userDrawn="1"/>
          </p:nvSpPr>
          <p:spPr bwMode="auto">
            <a:xfrm>
              <a:off x="7986490" y="3796292"/>
              <a:ext cx="88943" cy="80195"/>
            </a:xfrm>
            <a:custGeom>
              <a:avLst/>
              <a:gdLst>
                <a:gd name="T0" fmla="*/ 36 w 44"/>
                <a:gd name="T1" fmla="*/ 0 h 39"/>
                <a:gd name="T2" fmla="*/ 7 w 44"/>
                <a:gd name="T3" fmla="*/ 23 h 39"/>
                <a:gd name="T4" fmla="*/ 7 w 44"/>
                <a:gd name="T5" fmla="*/ 23 h 39"/>
                <a:gd name="T6" fmla="*/ 0 w 44"/>
                <a:gd name="T7" fmla="*/ 31 h 39"/>
                <a:gd name="T8" fmla="*/ 4 w 44"/>
                <a:gd name="T9" fmla="*/ 39 h 39"/>
                <a:gd name="T10" fmla="*/ 13 w 44"/>
                <a:gd name="T11" fmla="*/ 29 h 39"/>
                <a:gd name="T12" fmla="*/ 13 w 44"/>
                <a:gd name="T13" fmla="*/ 28 h 39"/>
                <a:gd name="T14" fmla="*/ 44 w 44"/>
                <a:gd name="T15" fmla="*/ 5 h 39"/>
                <a:gd name="T16" fmla="*/ 36 w 44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39">
                  <a:moveTo>
                    <a:pt x="36" y="0"/>
                  </a:moveTo>
                  <a:cubicBezTo>
                    <a:pt x="27" y="6"/>
                    <a:pt x="17" y="1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6"/>
                    <a:pt x="2" y="28"/>
                    <a:pt x="0" y="31"/>
                  </a:cubicBezTo>
                  <a:cubicBezTo>
                    <a:pt x="1" y="34"/>
                    <a:pt x="2" y="36"/>
                    <a:pt x="4" y="39"/>
                  </a:cubicBezTo>
                  <a:cubicBezTo>
                    <a:pt x="7" y="35"/>
                    <a:pt x="10" y="32"/>
                    <a:pt x="13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23" y="18"/>
                    <a:pt x="34" y="10"/>
                    <a:pt x="44" y="5"/>
                  </a:cubicBezTo>
                  <a:cubicBezTo>
                    <a:pt x="42" y="3"/>
                    <a:pt x="39" y="2"/>
                    <a:pt x="36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4" name="Freeform 3325"/>
            <p:cNvSpPr/>
            <p:nvPr userDrawn="1"/>
          </p:nvSpPr>
          <p:spPr bwMode="auto">
            <a:xfrm>
              <a:off x="7936915" y="3940643"/>
              <a:ext cx="10206" cy="20413"/>
            </a:xfrm>
            <a:custGeom>
              <a:avLst/>
              <a:gdLst>
                <a:gd name="T0" fmla="*/ 1 w 5"/>
                <a:gd name="T1" fmla="*/ 0 h 10"/>
                <a:gd name="T2" fmla="*/ 0 w 5"/>
                <a:gd name="T3" fmla="*/ 1 h 10"/>
                <a:gd name="T4" fmla="*/ 5 w 5"/>
                <a:gd name="T5" fmla="*/ 10 h 10"/>
                <a:gd name="T6" fmla="*/ 5 w 5"/>
                <a:gd name="T7" fmla="*/ 10 h 10"/>
                <a:gd name="T8" fmla="*/ 1 w 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2" y="4"/>
                    <a:pt x="3" y="7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6"/>
                    <a:pt x="2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5" name="Freeform 3326"/>
            <p:cNvSpPr/>
            <p:nvPr userDrawn="1"/>
          </p:nvSpPr>
          <p:spPr bwMode="auto">
            <a:xfrm>
              <a:off x="7939831" y="3940643"/>
              <a:ext cx="7290" cy="20413"/>
            </a:xfrm>
            <a:custGeom>
              <a:avLst/>
              <a:gdLst>
                <a:gd name="T0" fmla="*/ 0 w 4"/>
                <a:gd name="T1" fmla="*/ 0 h 10"/>
                <a:gd name="T2" fmla="*/ 0 w 4"/>
                <a:gd name="T3" fmla="*/ 0 h 10"/>
                <a:gd name="T4" fmla="*/ 4 w 4"/>
                <a:gd name="T5" fmla="*/ 10 h 10"/>
                <a:gd name="T6" fmla="*/ 4 w 4"/>
                <a:gd name="T7" fmla="*/ 9 h 10"/>
                <a:gd name="T8" fmla="*/ 0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4" y="10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6" name="Freeform 3327"/>
            <p:cNvSpPr/>
            <p:nvPr userDrawn="1"/>
          </p:nvSpPr>
          <p:spPr bwMode="auto">
            <a:xfrm>
              <a:off x="8059394" y="3780253"/>
              <a:ext cx="59781" cy="26246"/>
            </a:xfrm>
            <a:custGeom>
              <a:avLst/>
              <a:gdLst>
                <a:gd name="T0" fmla="*/ 20 w 29"/>
                <a:gd name="T1" fmla="*/ 0 h 13"/>
                <a:gd name="T2" fmla="*/ 0 w 29"/>
                <a:gd name="T3" fmla="*/ 8 h 13"/>
                <a:gd name="T4" fmla="*/ 8 w 29"/>
                <a:gd name="T5" fmla="*/ 13 h 13"/>
                <a:gd name="T6" fmla="*/ 29 w 29"/>
                <a:gd name="T7" fmla="*/ 4 h 13"/>
                <a:gd name="T8" fmla="*/ 20 w 2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20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3" y="10"/>
                    <a:pt x="6" y="11"/>
                    <a:pt x="8" y="13"/>
                  </a:cubicBezTo>
                  <a:cubicBezTo>
                    <a:pt x="16" y="8"/>
                    <a:pt x="23" y="6"/>
                    <a:pt x="29" y="4"/>
                  </a:cubicBezTo>
                  <a:cubicBezTo>
                    <a:pt x="26" y="3"/>
                    <a:pt x="23" y="1"/>
                    <a:pt x="20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7" name="Freeform 3328"/>
            <p:cNvSpPr/>
            <p:nvPr userDrawn="1"/>
          </p:nvSpPr>
          <p:spPr bwMode="auto">
            <a:xfrm>
              <a:off x="7950038" y="3876487"/>
              <a:ext cx="221630" cy="402433"/>
            </a:xfrm>
            <a:custGeom>
              <a:avLst/>
              <a:gdLst>
                <a:gd name="T0" fmla="*/ 109 w 109"/>
                <a:gd name="T1" fmla="*/ 198 h 198"/>
                <a:gd name="T2" fmla="*/ 22 w 109"/>
                <a:gd name="T3" fmla="*/ 0 h 198"/>
                <a:gd name="T4" fmla="*/ 0 w 109"/>
                <a:gd name="T5" fmla="*/ 42 h 198"/>
                <a:gd name="T6" fmla="*/ 109 w 109"/>
                <a:gd name="T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98">
                  <a:moveTo>
                    <a:pt x="109" y="198"/>
                  </a:moveTo>
                  <a:cubicBezTo>
                    <a:pt x="57" y="131"/>
                    <a:pt x="55" y="54"/>
                    <a:pt x="22" y="0"/>
                  </a:cubicBezTo>
                  <a:cubicBezTo>
                    <a:pt x="9" y="16"/>
                    <a:pt x="2" y="32"/>
                    <a:pt x="0" y="42"/>
                  </a:cubicBezTo>
                  <a:cubicBezTo>
                    <a:pt x="26" y="94"/>
                    <a:pt x="70" y="149"/>
                    <a:pt x="109" y="1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8" name="Freeform 3329"/>
            <p:cNvSpPr/>
            <p:nvPr userDrawn="1"/>
          </p:nvSpPr>
          <p:spPr bwMode="auto">
            <a:xfrm>
              <a:off x="7852345" y="3697142"/>
              <a:ext cx="134144" cy="243502"/>
            </a:xfrm>
            <a:custGeom>
              <a:avLst/>
              <a:gdLst>
                <a:gd name="T0" fmla="*/ 0 w 66"/>
                <a:gd name="T1" fmla="*/ 0 h 120"/>
                <a:gd name="T2" fmla="*/ 43 w 66"/>
                <a:gd name="T3" fmla="*/ 120 h 120"/>
                <a:gd name="T4" fmla="*/ 66 w 66"/>
                <a:gd name="T5" fmla="*/ 80 h 120"/>
                <a:gd name="T6" fmla="*/ 6 w 66"/>
                <a:gd name="T7" fmla="*/ 4 h 120"/>
                <a:gd name="T8" fmla="*/ 2 w 66"/>
                <a:gd name="T9" fmla="*/ 0 h 120"/>
                <a:gd name="T10" fmla="*/ 0 w 66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20">
                  <a:moveTo>
                    <a:pt x="0" y="0"/>
                  </a:moveTo>
                  <a:cubicBezTo>
                    <a:pt x="2" y="11"/>
                    <a:pt x="6" y="47"/>
                    <a:pt x="43" y="120"/>
                  </a:cubicBezTo>
                  <a:cubicBezTo>
                    <a:pt x="45" y="110"/>
                    <a:pt x="53" y="95"/>
                    <a:pt x="66" y="80"/>
                  </a:cubicBezTo>
                  <a:cubicBezTo>
                    <a:pt x="50" y="53"/>
                    <a:pt x="30" y="28"/>
                    <a:pt x="6" y="4"/>
                  </a:cubicBezTo>
                  <a:cubicBezTo>
                    <a:pt x="4" y="3"/>
                    <a:pt x="3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9" name="Freeform 3330"/>
            <p:cNvSpPr/>
            <p:nvPr userDrawn="1"/>
          </p:nvSpPr>
          <p:spPr bwMode="auto">
            <a:xfrm>
              <a:off x="7950038" y="3943559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1" y="3"/>
                    <a:pt x="1" y="5"/>
                    <a:pt x="0" y="8"/>
                  </a:cubicBezTo>
                  <a:cubicBezTo>
                    <a:pt x="1" y="5"/>
                    <a:pt x="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0" name="Freeform 3331"/>
            <p:cNvSpPr/>
            <p:nvPr userDrawn="1"/>
          </p:nvSpPr>
          <p:spPr bwMode="auto">
            <a:xfrm>
              <a:off x="7947122" y="3876487"/>
              <a:ext cx="46659" cy="84569"/>
            </a:xfrm>
            <a:custGeom>
              <a:avLst/>
              <a:gdLst>
                <a:gd name="T0" fmla="*/ 23 w 23"/>
                <a:gd name="T1" fmla="*/ 0 h 42"/>
                <a:gd name="T2" fmla="*/ 0 w 23"/>
                <a:gd name="T3" fmla="*/ 41 h 42"/>
                <a:gd name="T4" fmla="*/ 1 w 23"/>
                <a:gd name="T5" fmla="*/ 42 h 42"/>
                <a:gd name="T6" fmla="*/ 1 w 23"/>
                <a:gd name="T7" fmla="*/ 41 h 42"/>
                <a:gd name="T8" fmla="*/ 4 w 23"/>
                <a:gd name="T9" fmla="*/ 33 h 42"/>
                <a:gd name="T10" fmla="*/ 23 w 23"/>
                <a:gd name="T11" fmla="*/ 0 h 42"/>
                <a:gd name="T12" fmla="*/ 23 w 2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2">
                  <a:moveTo>
                    <a:pt x="23" y="0"/>
                  </a:moveTo>
                  <a:cubicBezTo>
                    <a:pt x="10" y="15"/>
                    <a:pt x="2" y="31"/>
                    <a:pt x="0" y="41"/>
                  </a:cubicBezTo>
                  <a:cubicBezTo>
                    <a:pt x="0" y="42"/>
                    <a:pt x="0" y="42"/>
                    <a:pt x="1" y="42"/>
                  </a:cubicBezTo>
                  <a:cubicBezTo>
                    <a:pt x="1" y="42"/>
                    <a:pt x="1" y="41"/>
                    <a:pt x="1" y="41"/>
                  </a:cubicBezTo>
                  <a:cubicBezTo>
                    <a:pt x="2" y="38"/>
                    <a:pt x="2" y="36"/>
                    <a:pt x="4" y="33"/>
                  </a:cubicBezTo>
                  <a:cubicBezTo>
                    <a:pt x="7" y="23"/>
                    <a:pt x="14" y="12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1" name="Freeform 3332"/>
            <p:cNvSpPr/>
            <p:nvPr userDrawn="1"/>
          </p:nvSpPr>
          <p:spPr bwMode="auto">
            <a:xfrm>
              <a:off x="7852345" y="3695684"/>
              <a:ext cx="2916" cy="1459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2" name="Freeform 3333"/>
            <p:cNvSpPr/>
            <p:nvPr userDrawn="1"/>
          </p:nvSpPr>
          <p:spPr bwMode="auto">
            <a:xfrm>
              <a:off x="7939831" y="3860448"/>
              <a:ext cx="53949" cy="99150"/>
            </a:xfrm>
            <a:custGeom>
              <a:avLst/>
              <a:gdLst>
                <a:gd name="T0" fmla="*/ 23 w 27"/>
                <a:gd name="T1" fmla="*/ 0 h 49"/>
                <a:gd name="T2" fmla="*/ 0 w 27"/>
                <a:gd name="T3" fmla="*/ 40 h 49"/>
                <a:gd name="T4" fmla="*/ 4 w 27"/>
                <a:gd name="T5" fmla="*/ 49 h 49"/>
                <a:gd name="T6" fmla="*/ 27 w 27"/>
                <a:gd name="T7" fmla="*/ 8 h 49"/>
                <a:gd name="T8" fmla="*/ 23 w 27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49">
                  <a:moveTo>
                    <a:pt x="23" y="0"/>
                  </a:moveTo>
                  <a:cubicBezTo>
                    <a:pt x="10" y="15"/>
                    <a:pt x="2" y="30"/>
                    <a:pt x="0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6" y="39"/>
                    <a:pt x="14" y="23"/>
                    <a:pt x="27" y="8"/>
                  </a:cubicBezTo>
                  <a:cubicBezTo>
                    <a:pt x="25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3" name="Freeform 3334"/>
            <p:cNvSpPr/>
            <p:nvPr userDrawn="1"/>
          </p:nvSpPr>
          <p:spPr bwMode="auto">
            <a:xfrm>
              <a:off x="8746156" y="3371987"/>
              <a:ext cx="1239378" cy="1229172"/>
            </a:xfrm>
            <a:custGeom>
              <a:avLst/>
              <a:gdLst>
                <a:gd name="T0" fmla="*/ 21 w 608"/>
                <a:gd name="T1" fmla="*/ 21 h 604"/>
                <a:gd name="T2" fmla="*/ 88 w 608"/>
                <a:gd name="T3" fmla="*/ 287 h 604"/>
                <a:gd name="T4" fmla="*/ 589 w 608"/>
                <a:gd name="T5" fmla="*/ 595 h 604"/>
                <a:gd name="T6" fmla="*/ 608 w 608"/>
                <a:gd name="T7" fmla="*/ 604 h 604"/>
                <a:gd name="T8" fmla="*/ 598 w 608"/>
                <a:gd name="T9" fmla="*/ 586 h 604"/>
                <a:gd name="T10" fmla="*/ 290 w 608"/>
                <a:gd name="T11" fmla="*/ 90 h 604"/>
                <a:gd name="T12" fmla="*/ 21 w 608"/>
                <a:gd name="T13" fmla="*/ 2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8" h="604">
                  <a:moveTo>
                    <a:pt x="21" y="21"/>
                  </a:moveTo>
                  <a:cubicBezTo>
                    <a:pt x="0" y="61"/>
                    <a:pt x="7" y="186"/>
                    <a:pt x="88" y="287"/>
                  </a:cubicBezTo>
                  <a:cubicBezTo>
                    <a:pt x="169" y="394"/>
                    <a:pt x="325" y="477"/>
                    <a:pt x="589" y="595"/>
                  </a:cubicBezTo>
                  <a:cubicBezTo>
                    <a:pt x="595" y="598"/>
                    <a:pt x="601" y="601"/>
                    <a:pt x="608" y="604"/>
                  </a:cubicBezTo>
                  <a:cubicBezTo>
                    <a:pt x="604" y="598"/>
                    <a:pt x="602" y="592"/>
                    <a:pt x="598" y="586"/>
                  </a:cubicBezTo>
                  <a:cubicBezTo>
                    <a:pt x="481" y="325"/>
                    <a:pt x="399" y="171"/>
                    <a:pt x="290" y="90"/>
                  </a:cubicBezTo>
                  <a:cubicBezTo>
                    <a:pt x="189" y="9"/>
                    <a:pt x="62" y="0"/>
                    <a:pt x="21" y="21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4" name="Freeform 3335"/>
            <p:cNvSpPr/>
            <p:nvPr userDrawn="1"/>
          </p:nvSpPr>
          <p:spPr bwMode="auto">
            <a:xfrm>
              <a:off x="8756362" y="3382194"/>
              <a:ext cx="941927" cy="933179"/>
            </a:xfrm>
            <a:custGeom>
              <a:avLst/>
              <a:gdLst>
                <a:gd name="T0" fmla="*/ 16 w 462"/>
                <a:gd name="T1" fmla="*/ 15 h 459"/>
                <a:gd name="T2" fmla="*/ 67 w 462"/>
                <a:gd name="T3" fmla="*/ 218 h 459"/>
                <a:gd name="T4" fmla="*/ 448 w 462"/>
                <a:gd name="T5" fmla="*/ 452 h 459"/>
                <a:gd name="T6" fmla="*/ 462 w 462"/>
                <a:gd name="T7" fmla="*/ 459 h 459"/>
                <a:gd name="T8" fmla="*/ 455 w 462"/>
                <a:gd name="T9" fmla="*/ 445 h 459"/>
                <a:gd name="T10" fmla="*/ 221 w 462"/>
                <a:gd name="T11" fmla="*/ 68 h 459"/>
                <a:gd name="T12" fmla="*/ 16 w 462"/>
                <a:gd name="T13" fmla="*/ 15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2" h="459">
                  <a:moveTo>
                    <a:pt x="16" y="15"/>
                  </a:moveTo>
                  <a:cubicBezTo>
                    <a:pt x="0" y="46"/>
                    <a:pt x="5" y="141"/>
                    <a:pt x="67" y="218"/>
                  </a:cubicBezTo>
                  <a:cubicBezTo>
                    <a:pt x="129" y="299"/>
                    <a:pt x="247" y="362"/>
                    <a:pt x="448" y="452"/>
                  </a:cubicBezTo>
                  <a:cubicBezTo>
                    <a:pt x="453" y="454"/>
                    <a:pt x="457" y="457"/>
                    <a:pt x="462" y="459"/>
                  </a:cubicBezTo>
                  <a:cubicBezTo>
                    <a:pt x="459" y="454"/>
                    <a:pt x="457" y="450"/>
                    <a:pt x="455" y="445"/>
                  </a:cubicBezTo>
                  <a:cubicBezTo>
                    <a:pt x="366" y="247"/>
                    <a:pt x="303" y="130"/>
                    <a:pt x="221" y="68"/>
                  </a:cubicBezTo>
                  <a:cubicBezTo>
                    <a:pt x="144" y="6"/>
                    <a:pt x="47" y="0"/>
                    <a:pt x="16" y="15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5" name="Freeform 3336"/>
            <p:cNvSpPr/>
            <p:nvPr userDrawn="1"/>
          </p:nvSpPr>
          <p:spPr bwMode="auto">
            <a:xfrm>
              <a:off x="8766569" y="3389484"/>
              <a:ext cx="660515" cy="656141"/>
            </a:xfrm>
            <a:custGeom>
              <a:avLst/>
              <a:gdLst>
                <a:gd name="T0" fmla="*/ 11 w 324"/>
                <a:gd name="T1" fmla="*/ 11 h 322"/>
                <a:gd name="T2" fmla="*/ 47 w 324"/>
                <a:gd name="T3" fmla="*/ 153 h 322"/>
                <a:gd name="T4" fmla="*/ 314 w 324"/>
                <a:gd name="T5" fmla="*/ 318 h 322"/>
                <a:gd name="T6" fmla="*/ 324 w 324"/>
                <a:gd name="T7" fmla="*/ 322 h 322"/>
                <a:gd name="T8" fmla="*/ 319 w 324"/>
                <a:gd name="T9" fmla="*/ 313 h 322"/>
                <a:gd name="T10" fmla="*/ 155 w 324"/>
                <a:gd name="T11" fmla="*/ 48 h 322"/>
                <a:gd name="T12" fmla="*/ 11 w 324"/>
                <a:gd name="T13" fmla="*/ 1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322">
                  <a:moveTo>
                    <a:pt x="11" y="11"/>
                  </a:moveTo>
                  <a:cubicBezTo>
                    <a:pt x="0" y="33"/>
                    <a:pt x="4" y="99"/>
                    <a:pt x="47" y="153"/>
                  </a:cubicBezTo>
                  <a:cubicBezTo>
                    <a:pt x="90" y="210"/>
                    <a:pt x="173" y="255"/>
                    <a:pt x="314" y="318"/>
                  </a:cubicBezTo>
                  <a:cubicBezTo>
                    <a:pt x="317" y="319"/>
                    <a:pt x="321" y="321"/>
                    <a:pt x="324" y="322"/>
                  </a:cubicBezTo>
                  <a:cubicBezTo>
                    <a:pt x="322" y="319"/>
                    <a:pt x="321" y="316"/>
                    <a:pt x="319" y="313"/>
                  </a:cubicBezTo>
                  <a:cubicBezTo>
                    <a:pt x="257" y="174"/>
                    <a:pt x="213" y="91"/>
                    <a:pt x="155" y="48"/>
                  </a:cubicBezTo>
                  <a:cubicBezTo>
                    <a:pt x="101" y="5"/>
                    <a:pt x="33" y="0"/>
                    <a:pt x="11" y="11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6" name="Freeform 3337"/>
            <p:cNvSpPr/>
            <p:nvPr userDrawn="1"/>
          </p:nvSpPr>
          <p:spPr bwMode="auto">
            <a:xfrm>
              <a:off x="7680290" y="2301748"/>
              <a:ext cx="1612649" cy="1611192"/>
            </a:xfrm>
            <a:custGeom>
              <a:avLst/>
              <a:gdLst>
                <a:gd name="T0" fmla="*/ 62 w 791"/>
                <a:gd name="T1" fmla="*/ 63 h 792"/>
                <a:gd name="T2" fmla="*/ 62 w 791"/>
                <a:gd name="T3" fmla="*/ 64 h 792"/>
                <a:gd name="T4" fmla="*/ 0 w 791"/>
                <a:gd name="T5" fmla="*/ 167 h 792"/>
                <a:gd name="T6" fmla="*/ 277 w 791"/>
                <a:gd name="T7" fmla="*/ 551 h 792"/>
                <a:gd name="T8" fmla="*/ 515 w 791"/>
                <a:gd name="T9" fmla="*/ 792 h 792"/>
                <a:gd name="T10" fmla="*/ 628 w 791"/>
                <a:gd name="T11" fmla="*/ 629 h 792"/>
                <a:gd name="T12" fmla="*/ 791 w 791"/>
                <a:gd name="T13" fmla="*/ 517 h 792"/>
                <a:gd name="T14" fmla="*/ 549 w 791"/>
                <a:gd name="T15" fmla="*/ 279 h 792"/>
                <a:gd name="T16" fmla="*/ 164 w 791"/>
                <a:gd name="T17" fmla="*/ 0 h 792"/>
                <a:gd name="T18" fmla="*/ 62 w 791"/>
                <a:gd name="T19" fmla="*/ 63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1" h="792">
                  <a:moveTo>
                    <a:pt x="62" y="63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26" y="100"/>
                    <a:pt x="5" y="142"/>
                    <a:pt x="0" y="167"/>
                  </a:cubicBezTo>
                  <a:cubicBezTo>
                    <a:pt x="67" y="297"/>
                    <a:pt x="193" y="441"/>
                    <a:pt x="277" y="551"/>
                  </a:cubicBezTo>
                  <a:cubicBezTo>
                    <a:pt x="336" y="629"/>
                    <a:pt x="403" y="692"/>
                    <a:pt x="515" y="792"/>
                  </a:cubicBezTo>
                  <a:cubicBezTo>
                    <a:pt x="529" y="760"/>
                    <a:pt x="564" y="692"/>
                    <a:pt x="628" y="629"/>
                  </a:cubicBezTo>
                  <a:cubicBezTo>
                    <a:pt x="691" y="566"/>
                    <a:pt x="758" y="530"/>
                    <a:pt x="791" y="517"/>
                  </a:cubicBezTo>
                  <a:cubicBezTo>
                    <a:pt x="690" y="404"/>
                    <a:pt x="628" y="337"/>
                    <a:pt x="549" y="279"/>
                  </a:cubicBezTo>
                  <a:cubicBezTo>
                    <a:pt x="440" y="194"/>
                    <a:pt x="295" y="67"/>
                    <a:pt x="164" y="0"/>
                  </a:cubicBezTo>
                  <a:cubicBezTo>
                    <a:pt x="140" y="5"/>
                    <a:pt x="98" y="27"/>
                    <a:pt x="62" y="63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7" name="Freeform 3338"/>
            <p:cNvSpPr/>
            <p:nvPr userDrawn="1"/>
          </p:nvSpPr>
          <p:spPr bwMode="auto">
            <a:xfrm>
              <a:off x="7489281" y="2112196"/>
              <a:ext cx="524913" cy="526372"/>
            </a:xfrm>
            <a:custGeom>
              <a:avLst/>
              <a:gdLst>
                <a:gd name="T0" fmla="*/ 0 w 258"/>
                <a:gd name="T1" fmla="*/ 0 h 259"/>
                <a:gd name="T2" fmla="*/ 93 w 258"/>
                <a:gd name="T3" fmla="*/ 259 h 259"/>
                <a:gd name="T4" fmla="*/ 156 w 258"/>
                <a:gd name="T5" fmla="*/ 157 h 259"/>
                <a:gd name="T6" fmla="*/ 157 w 258"/>
                <a:gd name="T7" fmla="*/ 156 h 259"/>
                <a:gd name="T8" fmla="*/ 258 w 258"/>
                <a:gd name="T9" fmla="*/ 93 h 259"/>
                <a:gd name="T10" fmla="*/ 0 w 258"/>
                <a:gd name="T1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259">
                  <a:moveTo>
                    <a:pt x="0" y="0"/>
                  </a:moveTo>
                  <a:cubicBezTo>
                    <a:pt x="4" y="22"/>
                    <a:pt x="10" y="98"/>
                    <a:pt x="93" y="259"/>
                  </a:cubicBezTo>
                  <a:cubicBezTo>
                    <a:pt x="99" y="235"/>
                    <a:pt x="120" y="193"/>
                    <a:pt x="156" y="157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92" y="120"/>
                    <a:pt x="234" y="98"/>
                    <a:pt x="258" y="93"/>
                  </a:cubicBezTo>
                  <a:cubicBezTo>
                    <a:pt x="98" y="9"/>
                    <a:pt x="22" y="4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8" name="Freeform 3339"/>
            <p:cNvSpPr/>
            <p:nvPr userDrawn="1"/>
          </p:nvSpPr>
          <p:spPr bwMode="auto">
            <a:xfrm>
              <a:off x="8730116" y="3353032"/>
              <a:ext cx="635728" cy="635728"/>
            </a:xfrm>
            <a:custGeom>
              <a:avLst/>
              <a:gdLst>
                <a:gd name="T0" fmla="*/ 0 w 312"/>
                <a:gd name="T1" fmla="*/ 275 h 312"/>
                <a:gd name="T2" fmla="*/ 9 w 312"/>
                <a:gd name="T3" fmla="*/ 283 h 312"/>
                <a:gd name="T4" fmla="*/ 41 w 312"/>
                <a:gd name="T5" fmla="*/ 312 h 312"/>
                <a:gd name="T6" fmla="*/ 147 w 312"/>
                <a:gd name="T7" fmla="*/ 149 h 312"/>
                <a:gd name="T8" fmla="*/ 148 w 312"/>
                <a:gd name="T9" fmla="*/ 147 h 312"/>
                <a:gd name="T10" fmla="*/ 312 w 312"/>
                <a:gd name="T11" fmla="*/ 40 h 312"/>
                <a:gd name="T12" fmla="*/ 283 w 312"/>
                <a:gd name="T13" fmla="*/ 8 h 312"/>
                <a:gd name="T14" fmla="*/ 276 w 312"/>
                <a:gd name="T15" fmla="*/ 0 h 312"/>
                <a:gd name="T16" fmla="*/ 113 w 312"/>
                <a:gd name="T17" fmla="*/ 112 h 312"/>
                <a:gd name="T18" fmla="*/ 0 w 312"/>
                <a:gd name="T19" fmla="*/ 27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2" h="312">
                  <a:moveTo>
                    <a:pt x="0" y="275"/>
                  </a:moveTo>
                  <a:cubicBezTo>
                    <a:pt x="3" y="278"/>
                    <a:pt x="6" y="281"/>
                    <a:pt x="9" y="283"/>
                  </a:cubicBezTo>
                  <a:cubicBezTo>
                    <a:pt x="19" y="293"/>
                    <a:pt x="30" y="303"/>
                    <a:pt x="41" y="312"/>
                  </a:cubicBezTo>
                  <a:cubicBezTo>
                    <a:pt x="54" y="272"/>
                    <a:pt x="89" y="207"/>
                    <a:pt x="147" y="149"/>
                  </a:cubicBezTo>
                  <a:cubicBezTo>
                    <a:pt x="147" y="148"/>
                    <a:pt x="148" y="148"/>
                    <a:pt x="148" y="147"/>
                  </a:cubicBezTo>
                  <a:cubicBezTo>
                    <a:pt x="207" y="88"/>
                    <a:pt x="272" y="53"/>
                    <a:pt x="312" y="40"/>
                  </a:cubicBezTo>
                  <a:cubicBezTo>
                    <a:pt x="302" y="29"/>
                    <a:pt x="293" y="18"/>
                    <a:pt x="283" y="8"/>
                  </a:cubicBezTo>
                  <a:cubicBezTo>
                    <a:pt x="281" y="5"/>
                    <a:pt x="278" y="2"/>
                    <a:pt x="276" y="0"/>
                  </a:cubicBezTo>
                  <a:cubicBezTo>
                    <a:pt x="243" y="13"/>
                    <a:pt x="176" y="49"/>
                    <a:pt x="113" y="112"/>
                  </a:cubicBezTo>
                  <a:cubicBezTo>
                    <a:pt x="49" y="175"/>
                    <a:pt x="14" y="243"/>
                    <a:pt x="0" y="275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9" name="Freeform 3340"/>
            <p:cNvSpPr/>
            <p:nvPr userDrawn="1"/>
          </p:nvSpPr>
          <p:spPr bwMode="auto">
            <a:xfrm>
              <a:off x="9292939" y="3353032"/>
              <a:ext cx="13122" cy="16039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2" y="2"/>
                    <a:pt x="5" y="5"/>
                    <a:pt x="7" y="8"/>
                  </a:cubicBezTo>
                  <a:cubicBezTo>
                    <a:pt x="5" y="5"/>
                    <a:pt x="2" y="2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0" name="Freeform 3341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1" name="Freeform 3342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2" name="Freeform 3343"/>
            <p:cNvSpPr/>
            <p:nvPr userDrawn="1"/>
          </p:nvSpPr>
          <p:spPr bwMode="auto">
            <a:xfrm>
              <a:off x="8730116" y="3513423"/>
              <a:ext cx="313489" cy="415557"/>
            </a:xfrm>
            <a:custGeom>
              <a:avLst/>
              <a:gdLst>
                <a:gd name="T0" fmla="*/ 149 w 154"/>
                <a:gd name="T1" fmla="*/ 0 h 204"/>
                <a:gd name="T2" fmla="*/ 113 w 154"/>
                <a:gd name="T3" fmla="*/ 33 h 204"/>
                <a:gd name="T4" fmla="*/ 0 w 154"/>
                <a:gd name="T5" fmla="*/ 196 h 204"/>
                <a:gd name="T6" fmla="*/ 9 w 154"/>
                <a:gd name="T7" fmla="*/ 204 h 204"/>
                <a:gd name="T8" fmla="*/ 9 w 154"/>
                <a:gd name="T9" fmla="*/ 204 h 204"/>
                <a:gd name="T10" fmla="*/ 121 w 154"/>
                <a:gd name="T11" fmla="*/ 41 h 204"/>
                <a:gd name="T12" fmla="*/ 154 w 154"/>
                <a:gd name="T13" fmla="*/ 10 h 204"/>
                <a:gd name="T14" fmla="*/ 149 w 154"/>
                <a:gd name="T1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204">
                  <a:moveTo>
                    <a:pt x="149" y="0"/>
                  </a:moveTo>
                  <a:cubicBezTo>
                    <a:pt x="137" y="10"/>
                    <a:pt x="125" y="21"/>
                    <a:pt x="113" y="33"/>
                  </a:cubicBezTo>
                  <a:cubicBezTo>
                    <a:pt x="49" y="96"/>
                    <a:pt x="14" y="164"/>
                    <a:pt x="0" y="196"/>
                  </a:cubicBezTo>
                  <a:cubicBezTo>
                    <a:pt x="3" y="199"/>
                    <a:pt x="6" y="202"/>
                    <a:pt x="9" y="204"/>
                  </a:cubicBezTo>
                  <a:cubicBezTo>
                    <a:pt x="9" y="204"/>
                    <a:pt x="9" y="204"/>
                    <a:pt x="9" y="204"/>
                  </a:cubicBezTo>
                  <a:cubicBezTo>
                    <a:pt x="22" y="170"/>
                    <a:pt x="58" y="103"/>
                    <a:pt x="121" y="41"/>
                  </a:cubicBezTo>
                  <a:cubicBezTo>
                    <a:pt x="131" y="30"/>
                    <a:pt x="143" y="20"/>
                    <a:pt x="154" y="10"/>
                  </a:cubicBezTo>
                  <a:cubicBezTo>
                    <a:pt x="152" y="7"/>
                    <a:pt x="150" y="3"/>
                    <a:pt x="149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3" name="Freeform 3344"/>
            <p:cNvSpPr>
              <a:spLocks noEditPoints="1"/>
            </p:cNvSpPr>
            <p:nvPr userDrawn="1"/>
          </p:nvSpPr>
          <p:spPr bwMode="auto">
            <a:xfrm>
              <a:off x="7489281" y="2112196"/>
              <a:ext cx="487002" cy="169139"/>
            </a:xfrm>
            <a:custGeom>
              <a:avLst/>
              <a:gdLst>
                <a:gd name="T0" fmla="*/ 0 w 239"/>
                <a:gd name="T1" fmla="*/ 0 h 83"/>
                <a:gd name="T2" fmla="*/ 1 w 239"/>
                <a:gd name="T3" fmla="*/ 2 h 83"/>
                <a:gd name="T4" fmla="*/ 1 w 239"/>
                <a:gd name="T5" fmla="*/ 2 h 83"/>
                <a:gd name="T6" fmla="*/ 0 w 239"/>
                <a:gd name="T7" fmla="*/ 0 h 83"/>
                <a:gd name="T8" fmla="*/ 0 w 239"/>
                <a:gd name="T9" fmla="*/ 0 h 83"/>
                <a:gd name="T10" fmla="*/ 0 w 239"/>
                <a:gd name="T11" fmla="*/ 0 h 83"/>
                <a:gd name="T12" fmla="*/ 239 w 239"/>
                <a:gd name="T13" fmla="*/ 83 h 83"/>
                <a:gd name="T14" fmla="*/ 239 w 239"/>
                <a:gd name="T15" fmla="*/ 83 h 83"/>
                <a:gd name="T16" fmla="*/ 0 w 239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83">
                  <a:moveTo>
                    <a:pt x="0" y="0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4"/>
                    <a:pt x="92" y="9"/>
                    <a:pt x="239" y="83"/>
                  </a:cubicBezTo>
                  <a:cubicBezTo>
                    <a:pt x="239" y="83"/>
                    <a:pt x="239" y="83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4" name="Freeform 3345"/>
            <p:cNvSpPr/>
            <p:nvPr userDrawn="1"/>
          </p:nvSpPr>
          <p:spPr bwMode="auto">
            <a:xfrm>
              <a:off x="7489281" y="2112196"/>
              <a:ext cx="487002" cy="204133"/>
            </a:xfrm>
            <a:custGeom>
              <a:avLst/>
              <a:gdLst>
                <a:gd name="T0" fmla="*/ 0 w 239"/>
                <a:gd name="T1" fmla="*/ 0 h 100"/>
                <a:gd name="T2" fmla="*/ 0 w 239"/>
                <a:gd name="T3" fmla="*/ 0 h 100"/>
                <a:gd name="T4" fmla="*/ 1 w 239"/>
                <a:gd name="T5" fmla="*/ 2 h 100"/>
                <a:gd name="T6" fmla="*/ 1 w 239"/>
                <a:gd name="T7" fmla="*/ 2 h 100"/>
                <a:gd name="T8" fmla="*/ 1 w 239"/>
                <a:gd name="T9" fmla="*/ 1 h 100"/>
                <a:gd name="T10" fmla="*/ 3 w 239"/>
                <a:gd name="T11" fmla="*/ 3 h 100"/>
                <a:gd name="T12" fmla="*/ 60 w 239"/>
                <a:gd name="T13" fmla="*/ 29 h 100"/>
                <a:gd name="T14" fmla="*/ 60 w 239"/>
                <a:gd name="T15" fmla="*/ 30 h 100"/>
                <a:gd name="T16" fmla="*/ 201 w 239"/>
                <a:gd name="T17" fmla="*/ 100 h 100"/>
                <a:gd name="T18" fmla="*/ 239 w 239"/>
                <a:gd name="T19" fmla="*/ 83 h 100"/>
                <a:gd name="T20" fmla="*/ 0 w 239"/>
                <a:gd name="T2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0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2"/>
                    <a:pt x="2" y="2"/>
                    <a:pt x="3" y="3"/>
                  </a:cubicBezTo>
                  <a:cubicBezTo>
                    <a:pt x="19" y="11"/>
                    <a:pt x="38" y="19"/>
                    <a:pt x="60" y="29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99" y="47"/>
                    <a:pt x="148" y="71"/>
                    <a:pt x="201" y="100"/>
                  </a:cubicBezTo>
                  <a:cubicBezTo>
                    <a:pt x="215" y="92"/>
                    <a:pt x="229" y="86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5" name="Freeform 3346"/>
            <p:cNvSpPr>
              <a:spLocks noEditPoints="1"/>
            </p:cNvSpPr>
            <p:nvPr userDrawn="1"/>
          </p:nvSpPr>
          <p:spPr bwMode="auto">
            <a:xfrm>
              <a:off x="8012735" y="2298832"/>
              <a:ext cx="1280204" cy="1113982"/>
            </a:xfrm>
            <a:custGeom>
              <a:avLst/>
              <a:gdLst>
                <a:gd name="T0" fmla="*/ 628 w 628"/>
                <a:gd name="T1" fmla="*/ 518 h 547"/>
                <a:gd name="T2" fmla="*/ 571 w 628"/>
                <a:gd name="T3" fmla="*/ 547 h 547"/>
                <a:gd name="T4" fmla="*/ 571 w 628"/>
                <a:gd name="T5" fmla="*/ 547 h 547"/>
                <a:gd name="T6" fmla="*/ 628 w 628"/>
                <a:gd name="T7" fmla="*/ 518 h 547"/>
                <a:gd name="T8" fmla="*/ 1 w 628"/>
                <a:gd name="T9" fmla="*/ 1 h 547"/>
                <a:gd name="T10" fmla="*/ 1 w 628"/>
                <a:gd name="T11" fmla="*/ 1 h 547"/>
                <a:gd name="T12" fmla="*/ 206 w 628"/>
                <a:gd name="T13" fmla="*/ 137 h 547"/>
                <a:gd name="T14" fmla="*/ 1 w 628"/>
                <a:gd name="T15" fmla="*/ 1 h 547"/>
                <a:gd name="T16" fmla="*/ 0 w 628"/>
                <a:gd name="T17" fmla="*/ 0 h 547"/>
                <a:gd name="T18" fmla="*/ 0 w 628"/>
                <a:gd name="T19" fmla="*/ 0 h 547"/>
                <a:gd name="T20" fmla="*/ 1 w 628"/>
                <a:gd name="T21" fmla="*/ 1 h 547"/>
                <a:gd name="T22" fmla="*/ 1 w 628"/>
                <a:gd name="T23" fmla="*/ 1 h 547"/>
                <a:gd name="T24" fmla="*/ 0 w 628"/>
                <a:gd name="T25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47">
                  <a:moveTo>
                    <a:pt x="628" y="518"/>
                  </a:moveTo>
                  <a:cubicBezTo>
                    <a:pt x="614" y="523"/>
                    <a:pt x="594" y="533"/>
                    <a:pt x="571" y="547"/>
                  </a:cubicBezTo>
                  <a:cubicBezTo>
                    <a:pt x="571" y="547"/>
                    <a:pt x="571" y="547"/>
                    <a:pt x="571" y="547"/>
                  </a:cubicBezTo>
                  <a:cubicBezTo>
                    <a:pt x="594" y="533"/>
                    <a:pt x="614" y="523"/>
                    <a:pt x="628" y="518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68" y="35"/>
                    <a:pt x="138" y="85"/>
                    <a:pt x="206" y="137"/>
                  </a:cubicBezTo>
                  <a:cubicBezTo>
                    <a:pt x="138" y="85"/>
                    <a:pt x="68" y="35"/>
                    <a:pt x="1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6" name="Freeform 3347"/>
            <p:cNvSpPr/>
            <p:nvPr userDrawn="1"/>
          </p:nvSpPr>
          <p:spPr bwMode="auto">
            <a:xfrm>
              <a:off x="9147130" y="3412814"/>
              <a:ext cx="29162" cy="16039"/>
            </a:xfrm>
            <a:custGeom>
              <a:avLst/>
              <a:gdLst>
                <a:gd name="T0" fmla="*/ 14 w 14"/>
                <a:gd name="T1" fmla="*/ 0 h 8"/>
                <a:gd name="T2" fmla="*/ 0 w 14"/>
                <a:gd name="T3" fmla="*/ 8 h 8"/>
                <a:gd name="T4" fmla="*/ 14 w 14"/>
                <a:gd name="T5" fmla="*/ 0 h 8"/>
                <a:gd name="T6" fmla="*/ 14 w 1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8">
                  <a:moveTo>
                    <a:pt x="14" y="0"/>
                  </a:moveTo>
                  <a:cubicBezTo>
                    <a:pt x="9" y="2"/>
                    <a:pt x="5" y="5"/>
                    <a:pt x="0" y="8"/>
                  </a:cubicBezTo>
                  <a:cubicBezTo>
                    <a:pt x="5" y="5"/>
                    <a:pt x="9" y="3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85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7" name="Freeform 3348"/>
            <p:cNvSpPr/>
            <p:nvPr userDrawn="1"/>
          </p:nvSpPr>
          <p:spPr bwMode="auto">
            <a:xfrm>
              <a:off x="7932541" y="2301748"/>
              <a:ext cx="1360399" cy="1211675"/>
            </a:xfrm>
            <a:custGeom>
              <a:avLst/>
              <a:gdLst>
                <a:gd name="T0" fmla="*/ 40 w 667"/>
                <a:gd name="T1" fmla="*/ 0 h 596"/>
                <a:gd name="T2" fmla="*/ 0 w 667"/>
                <a:gd name="T3" fmla="*/ 16 h 596"/>
                <a:gd name="T4" fmla="*/ 287 w 667"/>
                <a:gd name="T5" fmla="*/ 225 h 596"/>
                <a:gd name="T6" fmla="*/ 540 w 667"/>
                <a:gd name="T7" fmla="*/ 596 h 596"/>
                <a:gd name="T8" fmla="*/ 596 w 667"/>
                <a:gd name="T9" fmla="*/ 554 h 596"/>
                <a:gd name="T10" fmla="*/ 610 w 667"/>
                <a:gd name="T11" fmla="*/ 546 h 596"/>
                <a:gd name="T12" fmla="*/ 667 w 667"/>
                <a:gd name="T13" fmla="*/ 517 h 596"/>
                <a:gd name="T14" fmla="*/ 667 w 667"/>
                <a:gd name="T15" fmla="*/ 517 h 596"/>
                <a:gd name="T16" fmla="*/ 515 w 667"/>
                <a:gd name="T17" fmla="*/ 355 h 596"/>
                <a:gd name="T18" fmla="*/ 484 w 667"/>
                <a:gd name="T19" fmla="*/ 326 h 596"/>
                <a:gd name="T20" fmla="*/ 425 w 667"/>
                <a:gd name="T21" fmla="*/ 279 h 596"/>
                <a:gd name="T22" fmla="*/ 425 w 667"/>
                <a:gd name="T23" fmla="*/ 279 h 596"/>
                <a:gd name="T24" fmla="*/ 245 w 667"/>
                <a:gd name="T25" fmla="*/ 136 h 596"/>
                <a:gd name="T26" fmla="*/ 40 w 667"/>
                <a:gd name="T2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7" h="596">
                  <a:moveTo>
                    <a:pt x="40" y="0"/>
                  </a:moveTo>
                  <a:cubicBezTo>
                    <a:pt x="29" y="2"/>
                    <a:pt x="15" y="8"/>
                    <a:pt x="0" y="16"/>
                  </a:cubicBezTo>
                  <a:cubicBezTo>
                    <a:pt x="95" y="69"/>
                    <a:pt x="201" y="139"/>
                    <a:pt x="287" y="225"/>
                  </a:cubicBezTo>
                  <a:cubicBezTo>
                    <a:pt x="373" y="315"/>
                    <a:pt x="462" y="421"/>
                    <a:pt x="540" y="596"/>
                  </a:cubicBezTo>
                  <a:cubicBezTo>
                    <a:pt x="559" y="579"/>
                    <a:pt x="579" y="566"/>
                    <a:pt x="596" y="554"/>
                  </a:cubicBezTo>
                  <a:cubicBezTo>
                    <a:pt x="601" y="551"/>
                    <a:pt x="605" y="548"/>
                    <a:pt x="610" y="546"/>
                  </a:cubicBezTo>
                  <a:cubicBezTo>
                    <a:pt x="633" y="532"/>
                    <a:pt x="653" y="522"/>
                    <a:pt x="667" y="517"/>
                  </a:cubicBezTo>
                  <a:cubicBezTo>
                    <a:pt x="667" y="517"/>
                    <a:pt x="667" y="517"/>
                    <a:pt x="667" y="517"/>
                  </a:cubicBezTo>
                  <a:cubicBezTo>
                    <a:pt x="606" y="449"/>
                    <a:pt x="559" y="397"/>
                    <a:pt x="515" y="355"/>
                  </a:cubicBezTo>
                  <a:cubicBezTo>
                    <a:pt x="504" y="345"/>
                    <a:pt x="494" y="335"/>
                    <a:pt x="484" y="326"/>
                  </a:cubicBezTo>
                  <a:cubicBezTo>
                    <a:pt x="465" y="309"/>
                    <a:pt x="446" y="294"/>
                    <a:pt x="425" y="279"/>
                  </a:cubicBezTo>
                  <a:cubicBezTo>
                    <a:pt x="425" y="279"/>
                    <a:pt x="425" y="279"/>
                    <a:pt x="425" y="279"/>
                  </a:cubicBezTo>
                  <a:cubicBezTo>
                    <a:pt x="372" y="237"/>
                    <a:pt x="310" y="186"/>
                    <a:pt x="245" y="136"/>
                  </a:cubicBezTo>
                  <a:cubicBezTo>
                    <a:pt x="177" y="84"/>
                    <a:pt x="107" y="34"/>
                    <a:pt x="4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8" name="Freeform 3349"/>
            <p:cNvSpPr/>
            <p:nvPr userDrawn="1"/>
          </p:nvSpPr>
          <p:spPr bwMode="auto">
            <a:xfrm>
              <a:off x="7931082" y="2298832"/>
              <a:ext cx="83111" cy="34994"/>
            </a:xfrm>
            <a:custGeom>
              <a:avLst/>
              <a:gdLst>
                <a:gd name="T0" fmla="*/ 40 w 41"/>
                <a:gd name="T1" fmla="*/ 0 h 17"/>
                <a:gd name="T2" fmla="*/ 0 w 41"/>
                <a:gd name="T3" fmla="*/ 17 h 17"/>
                <a:gd name="T4" fmla="*/ 1 w 41"/>
                <a:gd name="T5" fmla="*/ 17 h 17"/>
                <a:gd name="T6" fmla="*/ 41 w 41"/>
                <a:gd name="T7" fmla="*/ 1 h 17"/>
                <a:gd name="T8" fmla="*/ 41 w 41"/>
                <a:gd name="T9" fmla="*/ 1 h 17"/>
                <a:gd name="T10" fmla="*/ 41 w 41"/>
                <a:gd name="T11" fmla="*/ 1 h 17"/>
                <a:gd name="T12" fmla="*/ 41 w 41"/>
                <a:gd name="T13" fmla="*/ 1 h 17"/>
                <a:gd name="T14" fmla="*/ 40 w 41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40" y="0"/>
                  </a:moveTo>
                  <a:cubicBezTo>
                    <a:pt x="29" y="3"/>
                    <a:pt x="15" y="8"/>
                    <a:pt x="0" y="17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16" y="9"/>
                    <a:pt x="30" y="3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0" y="0"/>
                    <a:pt x="4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9" name="Freeform 3350"/>
            <p:cNvSpPr/>
            <p:nvPr userDrawn="1"/>
          </p:nvSpPr>
          <p:spPr bwMode="auto">
            <a:xfrm>
              <a:off x="9314811" y="3409898"/>
              <a:ext cx="51033" cy="43743"/>
            </a:xfrm>
            <a:custGeom>
              <a:avLst/>
              <a:gdLst>
                <a:gd name="T0" fmla="*/ 15 w 25"/>
                <a:gd name="T1" fmla="*/ 0 h 21"/>
                <a:gd name="T2" fmla="*/ 25 w 25"/>
                <a:gd name="T3" fmla="*/ 12 h 21"/>
                <a:gd name="T4" fmla="*/ 0 w 25"/>
                <a:gd name="T5" fmla="*/ 21 h 21"/>
                <a:gd name="T6" fmla="*/ 25 w 25"/>
                <a:gd name="T7" fmla="*/ 12 h 21"/>
                <a:gd name="T8" fmla="*/ 15 w 2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15" y="0"/>
                  </a:moveTo>
                  <a:cubicBezTo>
                    <a:pt x="18" y="4"/>
                    <a:pt x="21" y="8"/>
                    <a:pt x="25" y="12"/>
                  </a:cubicBezTo>
                  <a:cubicBezTo>
                    <a:pt x="17" y="14"/>
                    <a:pt x="9" y="17"/>
                    <a:pt x="0" y="21"/>
                  </a:cubicBezTo>
                  <a:cubicBezTo>
                    <a:pt x="9" y="17"/>
                    <a:pt x="18" y="14"/>
                    <a:pt x="25" y="12"/>
                  </a:cubicBezTo>
                  <a:cubicBezTo>
                    <a:pt x="21" y="8"/>
                    <a:pt x="18" y="4"/>
                    <a:pt x="1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0" name="Freeform 3351"/>
            <p:cNvSpPr/>
            <p:nvPr userDrawn="1"/>
          </p:nvSpPr>
          <p:spPr bwMode="auto">
            <a:xfrm>
              <a:off x="9043606" y="3369071"/>
              <a:ext cx="322238" cy="242043"/>
            </a:xfrm>
            <a:custGeom>
              <a:avLst/>
              <a:gdLst>
                <a:gd name="T0" fmla="*/ 130 w 158"/>
                <a:gd name="T1" fmla="*/ 0 h 119"/>
                <a:gd name="T2" fmla="*/ 0 w 158"/>
                <a:gd name="T3" fmla="*/ 81 h 119"/>
                <a:gd name="T4" fmla="*/ 12 w 158"/>
                <a:gd name="T5" fmla="*/ 110 h 119"/>
                <a:gd name="T6" fmla="*/ 12 w 158"/>
                <a:gd name="T7" fmla="*/ 110 h 119"/>
                <a:gd name="T8" fmla="*/ 15 w 158"/>
                <a:gd name="T9" fmla="*/ 119 h 119"/>
                <a:gd name="T10" fmla="*/ 133 w 158"/>
                <a:gd name="T11" fmla="*/ 41 h 119"/>
                <a:gd name="T12" fmla="*/ 158 w 158"/>
                <a:gd name="T13" fmla="*/ 32 h 119"/>
                <a:gd name="T14" fmla="*/ 148 w 158"/>
                <a:gd name="T15" fmla="*/ 20 h 119"/>
                <a:gd name="T16" fmla="*/ 130 w 158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19">
                  <a:moveTo>
                    <a:pt x="130" y="0"/>
                  </a:moveTo>
                  <a:cubicBezTo>
                    <a:pt x="102" y="11"/>
                    <a:pt x="51" y="37"/>
                    <a:pt x="0" y="81"/>
                  </a:cubicBezTo>
                  <a:cubicBezTo>
                    <a:pt x="4" y="91"/>
                    <a:pt x="8" y="10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3"/>
                    <a:pt x="14" y="116"/>
                    <a:pt x="15" y="119"/>
                  </a:cubicBezTo>
                  <a:cubicBezTo>
                    <a:pt x="56" y="81"/>
                    <a:pt x="99" y="56"/>
                    <a:pt x="133" y="41"/>
                  </a:cubicBezTo>
                  <a:cubicBezTo>
                    <a:pt x="142" y="37"/>
                    <a:pt x="150" y="34"/>
                    <a:pt x="158" y="32"/>
                  </a:cubicBezTo>
                  <a:cubicBezTo>
                    <a:pt x="154" y="28"/>
                    <a:pt x="151" y="24"/>
                    <a:pt x="148" y="20"/>
                  </a:cubicBezTo>
                  <a:cubicBezTo>
                    <a:pt x="142" y="13"/>
                    <a:pt x="136" y="7"/>
                    <a:pt x="130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1" name="Freeform 3352"/>
            <p:cNvSpPr/>
            <p:nvPr userDrawn="1"/>
          </p:nvSpPr>
          <p:spPr bwMode="auto">
            <a:xfrm>
              <a:off x="9033399" y="3353032"/>
              <a:ext cx="275579" cy="180803"/>
            </a:xfrm>
            <a:custGeom>
              <a:avLst/>
              <a:gdLst>
                <a:gd name="T0" fmla="*/ 127 w 135"/>
                <a:gd name="T1" fmla="*/ 0 h 89"/>
                <a:gd name="T2" fmla="*/ 127 w 135"/>
                <a:gd name="T3" fmla="*/ 0 h 89"/>
                <a:gd name="T4" fmla="*/ 127 w 135"/>
                <a:gd name="T5" fmla="*/ 0 h 89"/>
                <a:gd name="T6" fmla="*/ 56 w 135"/>
                <a:gd name="T7" fmla="*/ 37 h 89"/>
                <a:gd name="T8" fmla="*/ 0 w 135"/>
                <a:gd name="T9" fmla="*/ 79 h 89"/>
                <a:gd name="T10" fmla="*/ 5 w 135"/>
                <a:gd name="T11" fmla="*/ 89 h 89"/>
                <a:gd name="T12" fmla="*/ 135 w 135"/>
                <a:gd name="T13" fmla="*/ 8 h 89"/>
                <a:gd name="T14" fmla="*/ 134 w 135"/>
                <a:gd name="T15" fmla="*/ 8 h 89"/>
                <a:gd name="T16" fmla="*/ 134 w 135"/>
                <a:gd name="T17" fmla="*/ 8 h 89"/>
                <a:gd name="T18" fmla="*/ 134 w 135"/>
                <a:gd name="T19" fmla="*/ 8 h 89"/>
                <a:gd name="T20" fmla="*/ 127 w 135"/>
                <a:gd name="T21" fmla="*/ 0 h 89"/>
                <a:gd name="T22" fmla="*/ 127 w 13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" h="89"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10" y="6"/>
                    <a:pt x="85" y="19"/>
                    <a:pt x="56" y="37"/>
                  </a:cubicBezTo>
                  <a:cubicBezTo>
                    <a:pt x="39" y="49"/>
                    <a:pt x="19" y="62"/>
                    <a:pt x="0" y="79"/>
                  </a:cubicBezTo>
                  <a:cubicBezTo>
                    <a:pt x="1" y="82"/>
                    <a:pt x="3" y="86"/>
                    <a:pt x="5" y="89"/>
                  </a:cubicBezTo>
                  <a:cubicBezTo>
                    <a:pt x="56" y="45"/>
                    <a:pt x="107" y="19"/>
                    <a:pt x="135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2" y="5"/>
                    <a:pt x="129" y="2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2" name="Freeform 3353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1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1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7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3" name="Freeform 3354"/>
            <p:cNvSpPr/>
            <p:nvPr userDrawn="1"/>
          </p:nvSpPr>
          <p:spPr bwMode="auto">
            <a:xfrm>
              <a:off x="7751737" y="2316329"/>
              <a:ext cx="179345" cy="154558"/>
            </a:xfrm>
            <a:custGeom>
              <a:avLst/>
              <a:gdLst>
                <a:gd name="T0" fmla="*/ 72 w 88"/>
                <a:gd name="T1" fmla="*/ 0 h 76"/>
                <a:gd name="T2" fmla="*/ 15 w 88"/>
                <a:gd name="T3" fmla="*/ 44 h 76"/>
                <a:gd name="T4" fmla="*/ 15 w 88"/>
                <a:gd name="T5" fmla="*/ 45 h 76"/>
                <a:gd name="T6" fmla="*/ 0 w 88"/>
                <a:gd name="T7" fmla="*/ 61 h 76"/>
                <a:gd name="T8" fmla="*/ 8 w 88"/>
                <a:gd name="T9" fmla="*/ 76 h 76"/>
                <a:gd name="T10" fmla="*/ 26 w 88"/>
                <a:gd name="T11" fmla="*/ 56 h 76"/>
                <a:gd name="T12" fmla="*/ 27 w 88"/>
                <a:gd name="T13" fmla="*/ 55 h 76"/>
                <a:gd name="T14" fmla="*/ 88 w 88"/>
                <a:gd name="T15" fmla="*/ 9 h 76"/>
                <a:gd name="T16" fmla="*/ 72 w 88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76">
                  <a:moveTo>
                    <a:pt x="72" y="0"/>
                  </a:moveTo>
                  <a:cubicBezTo>
                    <a:pt x="54" y="10"/>
                    <a:pt x="34" y="25"/>
                    <a:pt x="15" y="4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9" y="50"/>
                    <a:pt x="4" y="55"/>
                    <a:pt x="0" y="61"/>
                  </a:cubicBezTo>
                  <a:cubicBezTo>
                    <a:pt x="3" y="66"/>
                    <a:pt x="5" y="71"/>
                    <a:pt x="8" y="76"/>
                  </a:cubicBezTo>
                  <a:cubicBezTo>
                    <a:pt x="14" y="69"/>
                    <a:pt x="20" y="62"/>
                    <a:pt x="26" y="56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7" y="35"/>
                    <a:pt x="68" y="19"/>
                    <a:pt x="88" y="9"/>
                  </a:cubicBezTo>
                  <a:cubicBezTo>
                    <a:pt x="82" y="6"/>
                    <a:pt x="77" y="3"/>
                    <a:pt x="72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4" name="Freeform 3355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0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0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6" y="3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5" name="Freeform 3356"/>
            <p:cNvSpPr/>
            <p:nvPr userDrawn="1"/>
          </p:nvSpPr>
          <p:spPr bwMode="auto">
            <a:xfrm>
              <a:off x="7899004" y="2281335"/>
              <a:ext cx="113731" cy="52491"/>
            </a:xfrm>
            <a:custGeom>
              <a:avLst/>
              <a:gdLst>
                <a:gd name="T0" fmla="*/ 38 w 56"/>
                <a:gd name="T1" fmla="*/ 0 h 26"/>
                <a:gd name="T2" fmla="*/ 0 w 56"/>
                <a:gd name="T3" fmla="*/ 17 h 26"/>
                <a:gd name="T4" fmla="*/ 16 w 56"/>
                <a:gd name="T5" fmla="*/ 26 h 26"/>
                <a:gd name="T6" fmla="*/ 56 w 56"/>
                <a:gd name="T7" fmla="*/ 9 h 26"/>
                <a:gd name="T8" fmla="*/ 38 w 56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6">
                  <a:moveTo>
                    <a:pt x="38" y="0"/>
                  </a:moveTo>
                  <a:cubicBezTo>
                    <a:pt x="28" y="3"/>
                    <a:pt x="14" y="9"/>
                    <a:pt x="0" y="17"/>
                  </a:cubicBezTo>
                  <a:cubicBezTo>
                    <a:pt x="5" y="20"/>
                    <a:pt x="10" y="23"/>
                    <a:pt x="16" y="26"/>
                  </a:cubicBezTo>
                  <a:cubicBezTo>
                    <a:pt x="31" y="17"/>
                    <a:pt x="45" y="12"/>
                    <a:pt x="56" y="9"/>
                  </a:cubicBezTo>
                  <a:cubicBezTo>
                    <a:pt x="50" y="6"/>
                    <a:pt x="44" y="3"/>
                    <a:pt x="38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6" name="Freeform 3357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7" name="Freeform 3358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8" name="Freeform 3359"/>
            <p:cNvSpPr/>
            <p:nvPr userDrawn="1"/>
          </p:nvSpPr>
          <p:spPr bwMode="auto">
            <a:xfrm>
              <a:off x="7680290" y="2472345"/>
              <a:ext cx="438885" cy="788828"/>
            </a:xfrm>
            <a:custGeom>
              <a:avLst/>
              <a:gdLst>
                <a:gd name="T0" fmla="*/ 215 w 215"/>
                <a:gd name="T1" fmla="*/ 388 h 388"/>
                <a:gd name="T2" fmla="*/ 44 w 215"/>
                <a:gd name="T3" fmla="*/ 0 h 388"/>
                <a:gd name="T4" fmla="*/ 0 w 215"/>
                <a:gd name="T5" fmla="*/ 83 h 388"/>
                <a:gd name="T6" fmla="*/ 215 w 215"/>
                <a:gd name="T7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5" h="388">
                  <a:moveTo>
                    <a:pt x="215" y="388"/>
                  </a:moveTo>
                  <a:cubicBezTo>
                    <a:pt x="112" y="256"/>
                    <a:pt x="108" y="105"/>
                    <a:pt x="44" y="0"/>
                  </a:cubicBezTo>
                  <a:cubicBezTo>
                    <a:pt x="18" y="31"/>
                    <a:pt x="4" y="62"/>
                    <a:pt x="0" y="83"/>
                  </a:cubicBezTo>
                  <a:cubicBezTo>
                    <a:pt x="52" y="184"/>
                    <a:pt x="139" y="293"/>
                    <a:pt x="215" y="3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9" name="Freeform 3360"/>
            <p:cNvSpPr/>
            <p:nvPr userDrawn="1"/>
          </p:nvSpPr>
          <p:spPr bwMode="auto">
            <a:xfrm>
              <a:off x="7490739" y="2116571"/>
              <a:ext cx="260998" cy="484086"/>
            </a:xfrm>
            <a:custGeom>
              <a:avLst/>
              <a:gdLst>
                <a:gd name="T0" fmla="*/ 0 w 128"/>
                <a:gd name="T1" fmla="*/ 0 h 238"/>
                <a:gd name="T2" fmla="*/ 82 w 128"/>
                <a:gd name="T3" fmla="*/ 238 h 238"/>
                <a:gd name="T4" fmla="*/ 128 w 128"/>
                <a:gd name="T5" fmla="*/ 159 h 238"/>
                <a:gd name="T6" fmla="*/ 10 w 128"/>
                <a:gd name="T7" fmla="*/ 9 h 238"/>
                <a:gd name="T8" fmla="*/ 2 w 128"/>
                <a:gd name="T9" fmla="*/ 1 h 238"/>
                <a:gd name="T10" fmla="*/ 0 w 128"/>
                <a:gd name="T1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238">
                  <a:moveTo>
                    <a:pt x="0" y="0"/>
                  </a:moveTo>
                  <a:cubicBezTo>
                    <a:pt x="4" y="23"/>
                    <a:pt x="10" y="94"/>
                    <a:pt x="82" y="238"/>
                  </a:cubicBezTo>
                  <a:cubicBezTo>
                    <a:pt x="88" y="217"/>
                    <a:pt x="103" y="187"/>
                    <a:pt x="128" y="159"/>
                  </a:cubicBezTo>
                  <a:cubicBezTo>
                    <a:pt x="97" y="105"/>
                    <a:pt x="57" y="56"/>
                    <a:pt x="10" y="9"/>
                  </a:cubicBezTo>
                  <a:cubicBezTo>
                    <a:pt x="7" y="6"/>
                    <a:pt x="4" y="4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0" name="Freeform 3361"/>
            <p:cNvSpPr/>
            <p:nvPr userDrawn="1"/>
          </p:nvSpPr>
          <p:spPr bwMode="auto">
            <a:xfrm>
              <a:off x="7490739" y="2113655"/>
              <a:ext cx="4374" cy="43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1" name="Freeform 3362"/>
            <p:cNvSpPr/>
            <p:nvPr userDrawn="1"/>
          </p:nvSpPr>
          <p:spPr bwMode="auto">
            <a:xfrm>
              <a:off x="7680290" y="2596282"/>
              <a:ext cx="13122" cy="39369"/>
            </a:xfrm>
            <a:custGeom>
              <a:avLst/>
              <a:gdLst>
                <a:gd name="T0" fmla="*/ 6 w 6"/>
                <a:gd name="T1" fmla="*/ 0 h 19"/>
                <a:gd name="T2" fmla="*/ 0 w 6"/>
                <a:gd name="T3" fmla="*/ 19 h 19"/>
                <a:gd name="T4" fmla="*/ 6 w 6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6" y="0"/>
                  </a:moveTo>
                  <a:cubicBezTo>
                    <a:pt x="3" y="7"/>
                    <a:pt x="1" y="14"/>
                    <a:pt x="0" y="19"/>
                  </a:cubicBezTo>
                  <a:cubicBezTo>
                    <a:pt x="1" y="14"/>
                    <a:pt x="3" y="7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2" name="Freeform 3363"/>
            <p:cNvSpPr/>
            <p:nvPr userDrawn="1"/>
          </p:nvSpPr>
          <p:spPr bwMode="auto">
            <a:xfrm>
              <a:off x="7678833" y="2470887"/>
              <a:ext cx="91859" cy="167681"/>
            </a:xfrm>
            <a:custGeom>
              <a:avLst/>
              <a:gdLst>
                <a:gd name="T0" fmla="*/ 44 w 45"/>
                <a:gd name="T1" fmla="*/ 0 h 83"/>
                <a:gd name="T2" fmla="*/ 0 w 45"/>
                <a:gd name="T3" fmla="*/ 82 h 83"/>
                <a:gd name="T4" fmla="*/ 0 w 45"/>
                <a:gd name="T5" fmla="*/ 83 h 83"/>
                <a:gd name="T6" fmla="*/ 1 w 45"/>
                <a:gd name="T7" fmla="*/ 81 h 83"/>
                <a:gd name="T8" fmla="*/ 7 w 45"/>
                <a:gd name="T9" fmla="*/ 62 h 83"/>
                <a:gd name="T10" fmla="*/ 45 w 45"/>
                <a:gd name="T11" fmla="*/ 1 h 83"/>
                <a:gd name="T12" fmla="*/ 44 w 45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83">
                  <a:moveTo>
                    <a:pt x="44" y="0"/>
                  </a:moveTo>
                  <a:cubicBezTo>
                    <a:pt x="19" y="30"/>
                    <a:pt x="4" y="62"/>
                    <a:pt x="0" y="82"/>
                  </a:cubicBezTo>
                  <a:cubicBezTo>
                    <a:pt x="0" y="82"/>
                    <a:pt x="0" y="83"/>
                    <a:pt x="0" y="83"/>
                  </a:cubicBezTo>
                  <a:cubicBezTo>
                    <a:pt x="1" y="83"/>
                    <a:pt x="1" y="82"/>
                    <a:pt x="1" y="81"/>
                  </a:cubicBezTo>
                  <a:cubicBezTo>
                    <a:pt x="2" y="76"/>
                    <a:pt x="4" y="69"/>
                    <a:pt x="7" y="62"/>
                  </a:cubicBezTo>
                  <a:cubicBezTo>
                    <a:pt x="15" y="44"/>
                    <a:pt x="27" y="22"/>
                    <a:pt x="45" y="1"/>
                  </a:cubicBezTo>
                  <a:cubicBezTo>
                    <a:pt x="45" y="0"/>
                    <a:pt x="44" y="0"/>
                    <a:pt x="44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3" name="Freeform 3364"/>
            <p:cNvSpPr/>
            <p:nvPr userDrawn="1"/>
          </p:nvSpPr>
          <p:spPr bwMode="auto">
            <a:xfrm>
              <a:off x="7658420" y="2440267"/>
              <a:ext cx="109356" cy="196843"/>
            </a:xfrm>
            <a:custGeom>
              <a:avLst/>
              <a:gdLst>
                <a:gd name="T0" fmla="*/ 46 w 54"/>
                <a:gd name="T1" fmla="*/ 0 h 97"/>
                <a:gd name="T2" fmla="*/ 0 w 54"/>
                <a:gd name="T3" fmla="*/ 79 h 97"/>
                <a:gd name="T4" fmla="*/ 10 w 54"/>
                <a:gd name="T5" fmla="*/ 97 h 97"/>
                <a:gd name="T6" fmla="*/ 54 w 54"/>
                <a:gd name="T7" fmla="*/ 15 h 97"/>
                <a:gd name="T8" fmla="*/ 46 w 5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7">
                  <a:moveTo>
                    <a:pt x="46" y="0"/>
                  </a:moveTo>
                  <a:cubicBezTo>
                    <a:pt x="21" y="28"/>
                    <a:pt x="6" y="58"/>
                    <a:pt x="0" y="79"/>
                  </a:cubicBezTo>
                  <a:cubicBezTo>
                    <a:pt x="3" y="85"/>
                    <a:pt x="6" y="91"/>
                    <a:pt x="10" y="97"/>
                  </a:cubicBezTo>
                  <a:cubicBezTo>
                    <a:pt x="14" y="77"/>
                    <a:pt x="29" y="45"/>
                    <a:pt x="54" y="15"/>
                  </a:cubicBezTo>
                  <a:cubicBezTo>
                    <a:pt x="51" y="10"/>
                    <a:pt x="49" y="5"/>
                    <a:pt x="46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4" name="Freeform 3365"/>
            <p:cNvSpPr/>
            <p:nvPr userDrawn="1"/>
          </p:nvSpPr>
          <p:spPr bwMode="auto">
            <a:xfrm>
              <a:off x="8219784" y="2873320"/>
              <a:ext cx="260998" cy="259540"/>
            </a:xfrm>
            <a:custGeom>
              <a:avLst/>
              <a:gdLst>
                <a:gd name="T0" fmla="*/ 23 w 128"/>
                <a:gd name="T1" fmla="*/ 23 h 128"/>
                <a:gd name="T2" fmla="*/ 23 w 128"/>
                <a:gd name="T3" fmla="*/ 105 h 128"/>
                <a:gd name="T4" fmla="*/ 105 w 128"/>
                <a:gd name="T5" fmla="*/ 105 h 128"/>
                <a:gd name="T6" fmla="*/ 105 w 128"/>
                <a:gd name="T7" fmla="*/ 23 h 128"/>
                <a:gd name="T8" fmla="*/ 23 w 128"/>
                <a:gd name="T9" fmla="*/ 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8">
                  <a:moveTo>
                    <a:pt x="23" y="23"/>
                  </a:moveTo>
                  <a:cubicBezTo>
                    <a:pt x="0" y="46"/>
                    <a:pt x="0" y="82"/>
                    <a:pt x="23" y="105"/>
                  </a:cubicBezTo>
                  <a:cubicBezTo>
                    <a:pt x="45" y="128"/>
                    <a:pt x="82" y="128"/>
                    <a:pt x="105" y="105"/>
                  </a:cubicBezTo>
                  <a:cubicBezTo>
                    <a:pt x="128" y="82"/>
                    <a:pt x="128" y="46"/>
                    <a:pt x="105" y="23"/>
                  </a:cubicBezTo>
                  <a:cubicBezTo>
                    <a:pt x="82" y="0"/>
                    <a:pt x="45" y="0"/>
                    <a:pt x="2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5" name="Freeform 3366"/>
            <p:cNvSpPr/>
            <p:nvPr userDrawn="1"/>
          </p:nvSpPr>
          <p:spPr bwMode="auto">
            <a:xfrm>
              <a:off x="8206662" y="2842700"/>
              <a:ext cx="317864" cy="320780"/>
            </a:xfrm>
            <a:custGeom>
              <a:avLst/>
              <a:gdLst>
                <a:gd name="T0" fmla="*/ 27 w 156"/>
                <a:gd name="T1" fmla="*/ 28 h 158"/>
                <a:gd name="T2" fmla="*/ 27 w 156"/>
                <a:gd name="T3" fmla="*/ 130 h 158"/>
                <a:gd name="T4" fmla="*/ 129 w 156"/>
                <a:gd name="T5" fmla="*/ 130 h 158"/>
                <a:gd name="T6" fmla="*/ 129 w 156"/>
                <a:gd name="T7" fmla="*/ 28 h 158"/>
                <a:gd name="T8" fmla="*/ 27 w 156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8">
                  <a:moveTo>
                    <a:pt x="27" y="28"/>
                  </a:moveTo>
                  <a:cubicBezTo>
                    <a:pt x="0" y="56"/>
                    <a:pt x="0" y="102"/>
                    <a:pt x="27" y="130"/>
                  </a:cubicBezTo>
                  <a:cubicBezTo>
                    <a:pt x="55" y="158"/>
                    <a:pt x="101" y="158"/>
                    <a:pt x="129" y="130"/>
                  </a:cubicBezTo>
                  <a:cubicBezTo>
                    <a:pt x="156" y="102"/>
                    <a:pt x="156" y="56"/>
                    <a:pt x="129" y="28"/>
                  </a:cubicBezTo>
                  <a:cubicBezTo>
                    <a:pt x="101" y="0"/>
                    <a:pt x="55" y="0"/>
                    <a:pt x="27" y="28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6" name="Freeform 3367"/>
            <p:cNvSpPr/>
            <p:nvPr userDrawn="1"/>
          </p:nvSpPr>
          <p:spPr bwMode="auto">
            <a:xfrm>
              <a:off x="8190622" y="2842700"/>
              <a:ext cx="319322" cy="320780"/>
            </a:xfrm>
            <a:custGeom>
              <a:avLst/>
              <a:gdLst>
                <a:gd name="T0" fmla="*/ 28 w 157"/>
                <a:gd name="T1" fmla="*/ 28 h 158"/>
                <a:gd name="T2" fmla="*/ 28 w 157"/>
                <a:gd name="T3" fmla="*/ 130 h 158"/>
                <a:gd name="T4" fmla="*/ 129 w 157"/>
                <a:gd name="T5" fmla="*/ 130 h 158"/>
                <a:gd name="T6" fmla="*/ 129 w 157"/>
                <a:gd name="T7" fmla="*/ 28 h 158"/>
                <a:gd name="T8" fmla="*/ 28 w 157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28" y="28"/>
                  </a:moveTo>
                  <a:cubicBezTo>
                    <a:pt x="0" y="56"/>
                    <a:pt x="0" y="102"/>
                    <a:pt x="28" y="130"/>
                  </a:cubicBezTo>
                  <a:cubicBezTo>
                    <a:pt x="56" y="158"/>
                    <a:pt x="101" y="158"/>
                    <a:pt x="129" y="130"/>
                  </a:cubicBezTo>
                  <a:cubicBezTo>
                    <a:pt x="157" y="102"/>
                    <a:pt x="157" y="56"/>
                    <a:pt x="129" y="28"/>
                  </a:cubicBezTo>
                  <a:cubicBezTo>
                    <a:pt x="101" y="0"/>
                    <a:pt x="56" y="0"/>
                    <a:pt x="28" y="28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7" name="Freeform 3368"/>
            <p:cNvSpPr/>
            <p:nvPr userDrawn="1"/>
          </p:nvSpPr>
          <p:spPr bwMode="auto">
            <a:xfrm>
              <a:off x="8359761" y="2884985"/>
              <a:ext cx="13122" cy="236211"/>
            </a:xfrm>
            <a:custGeom>
              <a:avLst/>
              <a:gdLst>
                <a:gd name="T0" fmla="*/ 0 w 7"/>
                <a:gd name="T1" fmla="*/ 116 h 116"/>
                <a:gd name="T2" fmla="*/ 7 w 7"/>
                <a:gd name="T3" fmla="*/ 115 h 116"/>
                <a:gd name="T4" fmla="*/ 7 w 7"/>
                <a:gd name="T5" fmla="*/ 1 h 116"/>
                <a:gd name="T6" fmla="*/ 0 w 7"/>
                <a:gd name="T7" fmla="*/ 0 h 116"/>
                <a:gd name="T8" fmla="*/ 0 w 7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6">
                  <a:moveTo>
                    <a:pt x="0" y="116"/>
                  </a:moveTo>
                  <a:cubicBezTo>
                    <a:pt x="2" y="116"/>
                    <a:pt x="5" y="115"/>
                    <a:pt x="7" y="115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2" y="0"/>
                    <a:pt x="0" y="0"/>
                  </a:cubicBezTo>
                  <a:lnTo>
                    <a:pt x="0" y="11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8" name="Freeform 3369"/>
            <p:cNvSpPr/>
            <p:nvPr userDrawn="1"/>
          </p:nvSpPr>
          <p:spPr bwMode="auto">
            <a:xfrm>
              <a:off x="8219784" y="2895192"/>
              <a:ext cx="84569" cy="215798"/>
            </a:xfrm>
            <a:custGeom>
              <a:avLst/>
              <a:gdLst>
                <a:gd name="T0" fmla="*/ 23 w 41"/>
                <a:gd name="T1" fmla="*/ 94 h 106"/>
                <a:gd name="T2" fmla="*/ 41 w 41"/>
                <a:gd name="T3" fmla="*/ 106 h 106"/>
                <a:gd name="T4" fmla="*/ 41 w 41"/>
                <a:gd name="T5" fmla="*/ 0 h 106"/>
                <a:gd name="T6" fmla="*/ 23 w 41"/>
                <a:gd name="T7" fmla="*/ 12 h 106"/>
                <a:gd name="T8" fmla="*/ 23 w 41"/>
                <a:gd name="T9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23" y="94"/>
                  </a:moveTo>
                  <a:cubicBezTo>
                    <a:pt x="28" y="99"/>
                    <a:pt x="34" y="103"/>
                    <a:pt x="41" y="10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3"/>
                    <a:pt x="28" y="7"/>
                    <a:pt x="23" y="12"/>
                  </a:cubicBezTo>
                  <a:cubicBezTo>
                    <a:pt x="0" y="35"/>
                    <a:pt x="0" y="71"/>
                    <a:pt x="23" y="94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9" name="Freeform 3370"/>
            <p:cNvSpPr/>
            <p:nvPr userDrawn="1"/>
          </p:nvSpPr>
          <p:spPr bwMode="auto">
            <a:xfrm>
              <a:off x="8397671" y="2895192"/>
              <a:ext cx="83111" cy="215798"/>
            </a:xfrm>
            <a:custGeom>
              <a:avLst/>
              <a:gdLst>
                <a:gd name="T0" fmla="*/ 0 w 41"/>
                <a:gd name="T1" fmla="*/ 106 h 106"/>
                <a:gd name="T2" fmla="*/ 18 w 41"/>
                <a:gd name="T3" fmla="*/ 94 h 106"/>
                <a:gd name="T4" fmla="*/ 18 w 41"/>
                <a:gd name="T5" fmla="*/ 12 h 106"/>
                <a:gd name="T6" fmla="*/ 0 w 41"/>
                <a:gd name="T7" fmla="*/ 0 h 106"/>
                <a:gd name="T8" fmla="*/ 0 w 41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0" y="106"/>
                  </a:moveTo>
                  <a:cubicBezTo>
                    <a:pt x="6" y="104"/>
                    <a:pt x="12" y="100"/>
                    <a:pt x="18" y="94"/>
                  </a:cubicBezTo>
                  <a:cubicBezTo>
                    <a:pt x="41" y="71"/>
                    <a:pt x="41" y="35"/>
                    <a:pt x="18" y="12"/>
                  </a:cubicBezTo>
                  <a:cubicBezTo>
                    <a:pt x="12" y="6"/>
                    <a:pt x="6" y="2"/>
                    <a:pt x="0" y="0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0" name="Freeform 3371"/>
            <p:cNvSpPr/>
            <p:nvPr userDrawn="1"/>
          </p:nvSpPr>
          <p:spPr bwMode="auto">
            <a:xfrm>
              <a:off x="8304354" y="2884985"/>
              <a:ext cx="55407" cy="236211"/>
            </a:xfrm>
            <a:custGeom>
              <a:avLst/>
              <a:gdLst>
                <a:gd name="T0" fmla="*/ 0 w 27"/>
                <a:gd name="T1" fmla="*/ 5 h 116"/>
                <a:gd name="T2" fmla="*/ 0 w 27"/>
                <a:gd name="T3" fmla="*/ 111 h 116"/>
                <a:gd name="T4" fmla="*/ 27 w 27"/>
                <a:gd name="T5" fmla="*/ 116 h 116"/>
                <a:gd name="T6" fmla="*/ 27 w 27"/>
                <a:gd name="T7" fmla="*/ 0 h 116"/>
                <a:gd name="T8" fmla="*/ 0 w 27"/>
                <a:gd name="T9" fmla="*/ 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6">
                  <a:moveTo>
                    <a:pt x="0" y="5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8" y="115"/>
                    <a:pt x="17" y="116"/>
                    <a:pt x="27" y="116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8" y="1"/>
                    <a:pt x="0" y="5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1" name="Freeform 3372"/>
            <p:cNvSpPr/>
            <p:nvPr userDrawn="1"/>
          </p:nvSpPr>
          <p:spPr bwMode="auto">
            <a:xfrm>
              <a:off x="8372884" y="2887901"/>
              <a:ext cx="24787" cy="231837"/>
            </a:xfrm>
            <a:custGeom>
              <a:avLst/>
              <a:gdLst>
                <a:gd name="T0" fmla="*/ 0 w 12"/>
                <a:gd name="T1" fmla="*/ 114 h 114"/>
                <a:gd name="T2" fmla="*/ 12 w 12"/>
                <a:gd name="T3" fmla="*/ 110 h 114"/>
                <a:gd name="T4" fmla="*/ 12 w 12"/>
                <a:gd name="T5" fmla="*/ 4 h 114"/>
                <a:gd name="T6" fmla="*/ 0 w 12"/>
                <a:gd name="T7" fmla="*/ 0 h 114"/>
                <a:gd name="T8" fmla="*/ 0 w 12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4">
                  <a:moveTo>
                    <a:pt x="0" y="114"/>
                  </a:moveTo>
                  <a:cubicBezTo>
                    <a:pt x="4" y="113"/>
                    <a:pt x="8" y="112"/>
                    <a:pt x="12" y="11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4" y="1"/>
                    <a:pt x="0" y="0"/>
                  </a:cubicBezTo>
                  <a:lnTo>
                    <a:pt x="0" y="114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2" name="Freeform 3373"/>
            <p:cNvSpPr/>
            <p:nvPr userDrawn="1"/>
          </p:nvSpPr>
          <p:spPr bwMode="auto">
            <a:xfrm>
              <a:off x="8244572" y="2899565"/>
              <a:ext cx="23329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3" name="Freeform 3374"/>
            <p:cNvSpPr/>
            <p:nvPr userDrawn="1"/>
          </p:nvSpPr>
          <p:spPr bwMode="auto">
            <a:xfrm>
              <a:off x="8247488" y="2899565"/>
              <a:ext cx="21871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4" name="Freeform 3375"/>
            <p:cNvSpPr/>
            <p:nvPr userDrawn="1"/>
          </p:nvSpPr>
          <p:spPr bwMode="auto">
            <a:xfrm>
              <a:off x="8437040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9 w 10"/>
                <a:gd name="T5" fmla="*/ 9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9" y="9"/>
                  </a:cubicBezTo>
                  <a:cubicBezTo>
                    <a:pt x="10" y="7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5" name="Freeform 3376"/>
            <p:cNvSpPr/>
            <p:nvPr userDrawn="1"/>
          </p:nvSpPr>
          <p:spPr bwMode="auto">
            <a:xfrm>
              <a:off x="8438498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6" name="Freeform 3377"/>
            <p:cNvSpPr/>
            <p:nvPr userDrawn="1"/>
          </p:nvSpPr>
          <p:spPr bwMode="auto">
            <a:xfrm>
              <a:off x="8339348" y="2860197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6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7" name="Freeform 3378"/>
            <p:cNvSpPr/>
            <p:nvPr userDrawn="1"/>
          </p:nvSpPr>
          <p:spPr bwMode="auto">
            <a:xfrm>
              <a:off x="8340806" y="2860197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8" name="Freeform 3379"/>
            <p:cNvSpPr/>
            <p:nvPr userDrawn="1"/>
          </p:nvSpPr>
          <p:spPr bwMode="auto">
            <a:xfrm>
              <a:off x="8339348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9" name="Freeform 3380"/>
            <p:cNvSpPr/>
            <p:nvPr userDrawn="1"/>
          </p:nvSpPr>
          <p:spPr bwMode="auto">
            <a:xfrm>
              <a:off x="8340806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0" name="Freeform 3381"/>
            <p:cNvSpPr/>
            <p:nvPr userDrawn="1"/>
          </p:nvSpPr>
          <p:spPr bwMode="auto">
            <a:xfrm>
              <a:off x="8208120" y="2997258"/>
              <a:ext cx="20413" cy="20413"/>
            </a:xfrm>
            <a:custGeom>
              <a:avLst/>
              <a:gdLst>
                <a:gd name="T0" fmla="*/ 1 w 10"/>
                <a:gd name="T1" fmla="*/ 1 h 10"/>
                <a:gd name="T2" fmla="*/ 1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1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" y="1"/>
                  </a:moveTo>
                  <a:cubicBezTo>
                    <a:pt x="0" y="3"/>
                    <a:pt x="0" y="6"/>
                    <a:pt x="1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1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1" name="Freeform 3382"/>
            <p:cNvSpPr/>
            <p:nvPr userDrawn="1"/>
          </p:nvSpPr>
          <p:spPr bwMode="auto">
            <a:xfrm>
              <a:off x="8208120" y="2997258"/>
              <a:ext cx="21871" cy="20413"/>
            </a:xfrm>
            <a:custGeom>
              <a:avLst/>
              <a:gdLst>
                <a:gd name="T0" fmla="*/ 2 w 11"/>
                <a:gd name="T1" fmla="*/ 1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1 h 10"/>
                <a:gd name="T8" fmla="*/ 2 w 11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6"/>
                    <a:pt x="11" y="3"/>
                    <a:pt x="9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2" name="Freeform 3383"/>
            <p:cNvSpPr/>
            <p:nvPr userDrawn="1"/>
          </p:nvSpPr>
          <p:spPr bwMode="auto">
            <a:xfrm>
              <a:off x="8470576" y="2991426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3" name="Freeform 3384"/>
            <p:cNvSpPr/>
            <p:nvPr userDrawn="1"/>
          </p:nvSpPr>
          <p:spPr bwMode="auto">
            <a:xfrm>
              <a:off x="8473492" y="2991426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4" name="Freeform 3385"/>
            <p:cNvSpPr/>
            <p:nvPr userDrawn="1"/>
          </p:nvSpPr>
          <p:spPr bwMode="auto">
            <a:xfrm>
              <a:off x="8248946" y="3090576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5" name="Freeform 3386"/>
            <p:cNvSpPr/>
            <p:nvPr userDrawn="1"/>
          </p:nvSpPr>
          <p:spPr bwMode="auto">
            <a:xfrm>
              <a:off x="8250405" y="3089117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6" name="Freeform 3387"/>
            <p:cNvSpPr/>
            <p:nvPr userDrawn="1"/>
          </p:nvSpPr>
          <p:spPr bwMode="auto">
            <a:xfrm>
              <a:off x="8432666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9 w 10"/>
                <a:gd name="T5" fmla="*/ 8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0" y="6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7" name="Freeform 3388"/>
            <p:cNvSpPr/>
            <p:nvPr userDrawn="1"/>
          </p:nvSpPr>
          <p:spPr bwMode="auto">
            <a:xfrm>
              <a:off x="8434124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8" name="Freeform 3389"/>
            <p:cNvSpPr/>
            <p:nvPr userDrawn="1"/>
          </p:nvSpPr>
          <p:spPr bwMode="auto">
            <a:xfrm>
              <a:off x="7843597" y="2484010"/>
              <a:ext cx="400975" cy="400976"/>
            </a:xfrm>
            <a:custGeom>
              <a:avLst/>
              <a:gdLst>
                <a:gd name="T0" fmla="*/ 35 w 197"/>
                <a:gd name="T1" fmla="*/ 35 h 197"/>
                <a:gd name="T2" fmla="*/ 35 w 197"/>
                <a:gd name="T3" fmla="*/ 162 h 197"/>
                <a:gd name="T4" fmla="*/ 162 w 197"/>
                <a:gd name="T5" fmla="*/ 162 h 197"/>
                <a:gd name="T6" fmla="*/ 162 w 197"/>
                <a:gd name="T7" fmla="*/ 35 h 197"/>
                <a:gd name="T8" fmla="*/ 35 w 197"/>
                <a:gd name="T9" fmla="*/ 3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97">
                  <a:moveTo>
                    <a:pt x="35" y="35"/>
                  </a:moveTo>
                  <a:cubicBezTo>
                    <a:pt x="0" y="70"/>
                    <a:pt x="0" y="127"/>
                    <a:pt x="35" y="162"/>
                  </a:cubicBezTo>
                  <a:cubicBezTo>
                    <a:pt x="70" y="197"/>
                    <a:pt x="127" y="197"/>
                    <a:pt x="162" y="162"/>
                  </a:cubicBezTo>
                  <a:cubicBezTo>
                    <a:pt x="197" y="127"/>
                    <a:pt x="197" y="70"/>
                    <a:pt x="162" y="35"/>
                  </a:cubicBezTo>
                  <a:cubicBezTo>
                    <a:pt x="127" y="0"/>
                    <a:pt x="70" y="0"/>
                    <a:pt x="3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9" name="Freeform 3390"/>
            <p:cNvSpPr/>
            <p:nvPr userDrawn="1"/>
          </p:nvSpPr>
          <p:spPr bwMode="auto">
            <a:xfrm>
              <a:off x="7818810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0" name="Freeform 3391"/>
            <p:cNvSpPr/>
            <p:nvPr userDrawn="1"/>
          </p:nvSpPr>
          <p:spPr bwMode="auto">
            <a:xfrm>
              <a:off x="7796938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1" name="Freeform 3392"/>
            <p:cNvSpPr/>
            <p:nvPr userDrawn="1"/>
          </p:nvSpPr>
          <p:spPr bwMode="auto">
            <a:xfrm>
              <a:off x="8055020" y="2502965"/>
              <a:ext cx="24787" cy="364523"/>
            </a:xfrm>
            <a:custGeom>
              <a:avLst/>
              <a:gdLst>
                <a:gd name="T0" fmla="*/ 0 w 12"/>
                <a:gd name="T1" fmla="*/ 179 h 179"/>
                <a:gd name="T2" fmla="*/ 12 w 12"/>
                <a:gd name="T3" fmla="*/ 178 h 179"/>
                <a:gd name="T4" fmla="*/ 12 w 12"/>
                <a:gd name="T5" fmla="*/ 2 h 179"/>
                <a:gd name="T6" fmla="*/ 0 w 12"/>
                <a:gd name="T7" fmla="*/ 0 h 179"/>
                <a:gd name="T8" fmla="*/ 0 w 12"/>
                <a:gd name="T9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9">
                  <a:moveTo>
                    <a:pt x="0" y="179"/>
                  </a:moveTo>
                  <a:cubicBezTo>
                    <a:pt x="4" y="179"/>
                    <a:pt x="8" y="179"/>
                    <a:pt x="12" y="178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1"/>
                    <a:pt x="4" y="1"/>
                    <a:pt x="0" y="0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2" name="Freeform 3393"/>
            <p:cNvSpPr/>
            <p:nvPr userDrawn="1"/>
          </p:nvSpPr>
          <p:spPr bwMode="auto">
            <a:xfrm>
              <a:off x="7843597" y="2519004"/>
              <a:ext cx="126853" cy="333903"/>
            </a:xfrm>
            <a:custGeom>
              <a:avLst/>
              <a:gdLst>
                <a:gd name="T0" fmla="*/ 35 w 62"/>
                <a:gd name="T1" fmla="*/ 145 h 164"/>
                <a:gd name="T2" fmla="*/ 62 w 62"/>
                <a:gd name="T3" fmla="*/ 164 h 164"/>
                <a:gd name="T4" fmla="*/ 62 w 62"/>
                <a:gd name="T5" fmla="*/ 0 h 164"/>
                <a:gd name="T6" fmla="*/ 35 w 62"/>
                <a:gd name="T7" fmla="*/ 18 h 164"/>
                <a:gd name="T8" fmla="*/ 35 w 62"/>
                <a:gd name="T9" fmla="*/ 14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64">
                  <a:moveTo>
                    <a:pt x="35" y="145"/>
                  </a:moveTo>
                  <a:cubicBezTo>
                    <a:pt x="43" y="153"/>
                    <a:pt x="52" y="160"/>
                    <a:pt x="62" y="164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2" y="4"/>
                    <a:pt x="43" y="10"/>
                    <a:pt x="35" y="18"/>
                  </a:cubicBezTo>
                  <a:cubicBezTo>
                    <a:pt x="0" y="53"/>
                    <a:pt x="0" y="110"/>
                    <a:pt x="35" y="145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3" name="Freeform 3394"/>
            <p:cNvSpPr/>
            <p:nvPr userDrawn="1"/>
          </p:nvSpPr>
          <p:spPr bwMode="auto">
            <a:xfrm>
              <a:off x="8114802" y="2517545"/>
              <a:ext cx="129770" cy="335361"/>
            </a:xfrm>
            <a:custGeom>
              <a:avLst/>
              <a:gdLst>
                <a:gd name="T0" fmla="*/ 0 w 64"/>
                <a:gd name="T1" fmla="*/ 165 h 165"/>
                <a:gd name="T2" fmla="*/ 29 w 64"/>
                <a:gd name="T3" fmla="*/ 146 h 165"/>
                <a:gd name="T4" fmla="*/ 29 w 64"/>
                <a:gd name="T5" fmla="*/ 19 h 165"/>
                <a:gd name="T6" fmla="*/ 0 w 64"/>
                <a:gd name="T7" fmla="*/ 0 h 165"/>
                <a:gd name="T8" fmla="*/ 0 w 64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65">
                  <a:moveTo>
                    <a:pt x="0" y="165"/>
                  </a:moveTo>
                  <a:cubicBezTo>
                    <a:pt x="11" y="161"/>
                    <a:pt x="20" y="155"/>
                    <a:pt x="29" y="146"/>
                  </a:cubicBezTo>
                  <a:cubicBezTo>
                    <a:pt x="64" y="111"/>
                    <a:pt x="64" y="54"/>
                    <a:pt x="29" y="19"/>
                  </a:cubicBezTo>
                  <a:cubicBezTo>
                    <a:pt x="20" y="11"/>
                    <a:pt x="11" y="5"/>
                    <a:pt x="0" y="0"/>
                  </a:cubicBezTo>
                  <a:lnTo>
                    <a:pt x="0" y="165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4" name="Freeform 3395"/>
            <p:cNvSpPr/>
            <p:nvPr userDrawn="1"/>
          </p:nvSpPr>
          <p:spPr bwMode="auto">
            <a:xfrm>
              <a:off x="7970451" y="2502965"/>
              <a:ext cx="84569" cy="365981"/>
            </a:xfrm>
            <a:custGeom>
              <a:avLst/>
              <a:gdLst>
                <a:gd name="T0" fmla="*/ 0 w 42"/>
                <a:gd name="T1" fmla="*/ 8 h 180"/>
                <a:gd name="T2" fmla="*/ 0 w 42"/>
                <a:gd name="T3" fmla="*/ 172 h 180"/>
                <a:gd name="T4" fmla="*/ 42 w 42"/>
                <a:gd name="T5" fmla="*/ 179 h 180"/>
                <a:gd name="T6" fmla="*/ 42 w 42"/>
                <a:gd name="T7" fmla="*/ 0 h 180"/>
                <a:gd name="T8" fmla="*/ 0 w 42"/>
                <a:gd name="T9" fmla="*/ 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0">
                  <a:moveTo>
                    <a:pt x="0" y="8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13" y="178"/>
                    <a:pt x="28" y="180"/>
                    <a:pt x="42" y="17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8" y="0"/>
                    <a:pt x="13" y="2"/>
                    <a:pt x="0" y="8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5" name="Freeform 3396"/>
            <p:cNvSpPr/>
            <p:nvPr userDrawn="1"/>
          </p:nvSpPr>
          <p:spPr bwMode="auto">
            <a:xfrm>
              <a:off x="8079807" y="2507339"/>
              <a:ext cx="34994" cy="357233"/>
            </a:xfrm>
            <a:custGeom>
              <a:avLst/>
              <a:gdLst>
                <a:gd name="T0" fmla="*/ 0 w 17"/>
                <a:gd name="T1" fmla="*/ 176 h 176"/>
                <a:gd name="T2" fmla="*/ 17 w 17"/>
                <a:gd name="T3" fmla="*/ 170 h 176"/>
                <a:gd name="T4" fmla="*/ 17 w 17"/>
                <a:gd name="T5" fmla="*/ 5 h 176"/>
                <a:gd name="T6" fmla="*/ 0 w 17"/>
                <a:gd name="T7" fmla="*/ 0 h 176"/>
                <a:gd name="T8" fmla="*/ 0 w 17"/>
                <a:gd name="T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6">
                  <a:moveTo>
                    <a:pt x="0" y="176"/>
                  </a:moveTo>
                  <a:cubicBezTo>
                    <a:pt x="6" y="175"/>
                    <a:pt x="12" y="173"/>
                    <a:pt x="17" y="17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3"/>
                    <a:pt x="6" y="1"/>
                    <a:pt x="0" y="0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6" name="Freeform 3397"/>
            <p:cNvSpPr/>
            <p:nvPr userDrawn="1"/>
          </p:nvSpPr>
          <p:spPr bwMode="auto">
            <a:xfrm>
              <a:off x="7882966" y="2524836"/>
              <a:ext cx="29162" cy="33537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7" name="Freeform 3398"/>
            <p:cNvSpPr/>
            <p:nvPr userDrawn="1"/>
          </p:nvSpPr>
          <p:spPr bwMode="auto">
            <a:xfrm>
              <a:off x="7884423" y="2524836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8" name="Freeform 3399"/>
            <p:cNvSpPr/>
            <p:nvPr userDrawn="1"/>
          </p:nvSpPr>
          <p:spPr bwMode="auto">
            <a:xfrm>
              <a:off x="8177500" y="2529210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9" name="Freeform 3400"/>
            <p:cNvSpPr/>
            <p:nvPr userDrawn="1"/>
          </p:nvSpPr>
          <p:spPr bwMode="auto">
            <a:xfrm>
              <a:off x="8180416" y="2529210"/>
              <a:ext cx="32078" cy="30620"/>
            </a:xfrm>
            <a:custGeom>
              <a:avLst/>
              <a:gdLst>
                <a:gd name="T0" fmla="*/ 3 w 16"/>
                <a:gd name="T1" fmla="*/ 3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3 h 15"/>
                <a:gd name="T8" fmla="*/ 3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0" name="Freeform 3401"/>
            <p:cNvSpPr/>
            <p:nvPr userDrawn="1"/>
          </p:nvSpPr>
          <p:spPr bwMode="auto">
            <a:xfrm>
              <a:off x="8024400" y="2463597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1" name="Freeform 3402"/>
            <p:cNvSpPr/>
            <p:nvPr userDrawn="1"/>
          </p:nvSpPr>
          <p:spPr bwMode="auto">
            <a:xfrm>
              <a:off x="8027316" y="2463597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2" name="Freeform 3403"/>
            <p:cNvSpPr/>
            <p:nvPr userDrawn="1"/>
          </p:nvSpPr>
          <p:spPr bwMode="auto">
            <a:xfrm>
              <a:off x="8024400" y="2870404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3" name="Freeform 3404"/>
            <p:cNvSpPr/>
            <p:nvPr userDrawn="1"/>
          </p:nvSpPr>
          <p:spPr bwMode="auto">
            <a:xfrm>
              <a:off x="8027316" y="2870404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4" name="Freeform 3405"/>
            <p:cNvSpPr/>
            <p:nvPr userDrawn="1"/>
          </p:nvSpPr>
          <p:spPr bwMode="auto">
            <a:xfrm>
              <a:off x="7821726" y="2676478"/>
              <a:ext cx="32078" cy="29162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5" name="Freeform 3406"/>
            <p:cNvSpPr/>
            <p:nvPr userDrawn="1"/>
          </p:nvSpPr>
          <p:spPr bwMode="auto">
            <a:xfrm>
              <a:off x="7824642" y="2673562"/>
              <a:ext cx="30619" cy="32078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1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1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6" name="Freeform 3407"/>
            <p:cNvSpPr/>
            <p:nvPr userDrawn="1"/>
          </p:nvSpPr>
          <p:spPr bwMode="auto">
            <a:xfrm>
              <a:off x="8229991" y="2667729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7" name="Freeform 3408"/>
            <p:cNvSpPr/>
            <p:nvPr userDrawn="1"/>
          </p:nvSpPr>
          <p:spPr bwMode="auto">
            <a:xfrm>
              <a:off x="8232908" y="2667729"/>
              <a:ext cx="32078" cy="32078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8" name="Freeform 3409"/>
            <p:cNvSpPr/>
            <p:nvPr userDrawn="1"/>
          </p:nvSpPr>
          <p:spPr bwMode="auto">
            <a:xfrm>
              <a:off x="7885882" y="2820829"/>
              <a:ext cx="33536" cy="30620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2 h 15"/>
                <a:gd name="T4" fmla="*/ 13 w 16"/>
                <a:gd name="T5" fmla="*/ 12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2"/>
                  </a:cubicBezTo>
                  <a:cubicBezTo>
                    <a:pt x="6" y="15"/>
                    <a:pt x="10" y="15"/>
                    <a:pt x="13" y="12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9" name="Freeform 3410"/>
            <p:cNvSpPr/>
            <p:nvPr userDrawn="1"/>
          </p:nvSpPr>
          <p:spPr bwMode="auto">
            <a:xfrm>
              <a:off x="7890256" y="2817912"/>
              <a:ext cx="30619" cy="33537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0" name="Freeform 3411"/>
            <p:cNvSpPr/>
            <p:nvPr userDrawn="1"/>
          </p:nvSpPr>
          <p:spPr bwMode="auto">
            <a:xfrm>
              <a:off x="8170209" y="2813539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1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1" name="Freeform 3412"/>
            <p:cNvSpPr/>
            <p:nvPr userDrawn="1"/>
          </p:nvSpPr>
          <p:spPr bwMode="auto">
            <a:xfrm>
              <a:off x="8173125" y="2813539"/>
              <a:ext cx="30619" cy="30620"/>
            </a:xfrm>
            <a:custGeom>
              <a:avLst/>
              <a:gdLst>
                <a:gd name="T0" fmla="*/ 3 w 15"/>
                <a:gd name="T1" fmla="*/ 2 h 15"/>
                <a:gd name="T2" fmla="*/ 3 w 15"/>
                <a:gd name="T3" fmla="*/ 13 h 15"/>
                <a:gd name="T4" fmla="*/ 13 w 15"/>
                <a:gd name="T5" fmla="*/ 13 h 15"/>
                <a:gd name="T6" fmla="*/ 13 w 15"/>
                <a:gd name="T7" fmla="*/ 2 h 15"/>
                <a:gd name="T8" fmla="*/ 3 w 15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5"/>
                    <a:pt x="10" y="15"/>
                    <a:pt x="13" y="13"/>
                  </a:cubicBezTo>
                  <a:cubicBezTo>
                    <a:pt x="15" y="10"/>
                    <a:pt x="15" y="5"/>
                    <a:pt x="13" y="2"/>
                  </a:cubicBezTo>
                  <a:cubicBezTo>
                    <a:pt x="10" y="0"/>
                    <a:pt x="5" y="0"/>
                    <a:pt x="3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315450" y="3574965"/>
            <a:ext cx="520392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316566" y="4470315"/>
            <a:ext cx="520392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23" name="图片 2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46" y="233248"/>
            <a:ext cx="1584000" cy="307534"/>
          </a:xfrm>
          <a:prstGeom prst="rect">
            <a:avLst/>
          </a:prstGeom>
        </p:spPr>
      </p:pic>
      <p:pic>
        <p:nvPicPr>
          <p:cNvPr id="224" name="图片 2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365" y="95562"/>
            <a:ext cx="1296000" cy="516332"/>
          </a:xfrm>
          <a:prstGeom prst="rect">
            <a:avLst/>
          </a:prstGeom>
        </p:spPr>
      </p:pic>
      <p:sp>
        <p:nvSpPr>
          <p:cNvPr id="225" name="文本框 224"/>
          <p:cNvSpPr txBox="1"/>
          <p:nvPr userDrawn="1"/>
        </p:nvSpPr>
        <p:spPr>
          <a:xfrm>
            <a:off x="1794218" y="205192"/>
            <a:ext cx="469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X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88"/>
          <a:stretch>
            <a:fillRect/>
          </a:stretch>
        </p:blipFill>
        <p:spPr>
          <a:xfrm>
            <a:off x="11061702" y="5829301"/>
            <a:ext cx="1044000" cy="9501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88"/>
          <a:stretch>
            <a:fillRect/>
          </a:stretch>
        </p:blipFill>
        <p:spPr>
          <a:xfrm>
            <a:off x="11061702" y="5829301"/>
            <a:ext cx="1044000" cy="9501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6584"/>
          <a:stretch/>
        </p:blipFill>
        <p:spPr>
          <a:xfrm>
            <a:off x="10929257" y="5678387"/>
            <a:ext cx="1262743" cy="11796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 flipH="1">
            <a:off x="-17615" y="0"/>
            <a:ext cx="12192000" cy="68580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 flipH="1">
            <a:off x="2070" y="-1543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0">
                <a:schemeClr val="accent1">
                  <a:lumMod val="50000"/>
                  <a:lumOff val="50000"/>
                </a:schemeClr>
              </a:gs>
              <a:gs pos="100000">
                <a:schemeClr val="accent1"/>
              </a:gs>
              <a:gs pos="62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2526"/>
          <p:cNvSpPr/>
          <p:nvPr userDrawn="1"/>
        </p:nvSpPr>
        <p:spPr bwMode="auto">
          <a:xfrm flipH="1">
            <a:off x="7652715" y="0"/>
            <a:ext cx="4552950" cy="6230938"/>
          </a:xfrm>
          <a:custGeom>
            <a:avLst/>
            <a:gdLst>
              <a:gd name="T0" fmla="*/ 0 w 2402"/>
              <a:gd name="T1" fmla="*/ 3293 h 3293"/>
              <a:gd name="T2" fmla="*/ 2402 w 2402"/>
              <a:gd name="T3" fmla="*/ 415 h 3293"/>
              <a:gd name="T4" fmla="*/ 2371 w 2402"/>
              <a:gd name="T5" fmla="*/ 0 h 3293"/>
              <a:gd name="T6" fmla="*/ 0 w 2402"/>
              <a:gd name="T7" fmla="*/ 0 h 3293"/>
              <a:gd name="T8" fmla="*/ 0 w 2402"/>
              <a:gd name="T9" fmla="*/ 3293 h 3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02" h="3293">
                <a:moveTo>
                  <a:pt x="0" y="3293"/>
                </a:moveTo>
                <a:cubicBezTo>
                  <a:pt x="1379" y="2978"/>
                  <a:pt x="2402" y="1809"/>
                  <a:pt x="2402" y="415"/>
                </a:cubicBezTo>
                <a:cubicBezTo>
                  <a:pt x="2402" y="274"/>
                  <a:pt x="2392" y="135"/>
                  <a:pt x="2371" y="0"/>
                </a:cubicBezTo>
                <a:cubicBezTo>
                  <a:pt x="0" y="0"/>
                  <a:pt x="0" y="0"/>
                  <a:pt x="0" y="0"/>
                </a:cubicBezTo>
                <a:lnTo>
                  <a:pt x="0" y="3293"/>
                </a:lnTo>
                <a:close/>
              </a:path>
            </a:pathLst>
          </a:custGeom>
          <a:solidFill>
            <a:srgbClr val="347A91">
              <a:alpha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" name="Freeform 2527"/>
          <p:cNvSpPr/>
          <p:nvPr userDrawn="1"/>
        </p:nvSpPr>
        <p:spPr bwMode="auto">
          <a:xfrm flipH="1">
            <a:off x="6720852" y="0"/>
            <a:ext cx="5484813" cy="6859588"/>
          </a:xfrm>
          <a:custGeom>
            <a:avLst/>
            <a:gdLst>
              <a:gd name="T0" fmla="*/ 0 w 2894"/>
              <a:gd name="T1" fmla="*/ 3625 h 3625"/>
              <a:gd name="T2" fmla="*/ 2894 w 2894"/>
              <a:gd name="T3" fmla="*/ 675 h 3625"/>
              <a:gd name="T4" fmla="*/ 2812 w 2894"/>
              <a:gd name="T5" fmla="*/ 0 h 3625"/>
              <a:gd name="T6" fmla="*/ 0 w 2894"/>
              <a:gd name="T7" fmla="*/ 0 h 3625"/>
              <a:gd name="T8" fmla="*/ 0 w 2894"/>
              <a:gd name="T9" fmla="*/ 3625 h 3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94" h="3625">
                <a:moveTo>
                  <a:pt x="0" y="3625"/>
                </a:moveTo>
                <a:cubicBezTo>
                  <a:pt x="1621" y="3497"/>
                  <a:pt x="2894" y="2225"/>
                  <a:pt x="2894" y="675"/>
                </a:cubicBezTo>
                <a:cubicBezTo>
                  <a:pt x="2894" y="442"/>
                  <a:pt x="2866" y="217"/>
                  <a:pt x="2812" y="0"/>
                </a:cubicBezTo>
                <a:cubicBezTo>
                  <a:pt x="0" y="0"/>
                  <a:pt x="0" y="0"/>
                  <a:pt x="0" y="0"/>
                </a:cubicBezTo>
                <a:lnTo>
                  <a:pt x="0" y="3625"/>
                </a:lnTo>
                <a:close/>
              </a:path>
            </a:pathLst>
          </a:custGeom>
          <a:solidFill>
            <a:srgbClr val="347A91">
              <a:alpha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10" name="组合 9"/>
          <p:cNvGrpSpPr/>
          <p:nvPr userDrawn="1"/>
        </p:nvGrpSpPr>
        <p:grpSpPr>
          <a:xfrm flipH="1">
            <a:off x="0" y="0"/>
            <a:ext cx="2281657" cy="2569824"/>
            <a:chOff x="9924008" y="0"/>
            <a:chExt cx="2281657" cy="2569824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9924008" y="0"/>
              <a:ext cx="2281657" cy="2569824"/>
            </a:xfrm>
            <a:custGeom>
              <a:avLst/>
              <a:gdLst>
                <a:gd name="connsiteX0" fmla="*/ 211819 w 2281657"/>
                <a:gd name="connsiteY0" fmla="*/ 0 h 2569824"/>
                <a:gd name="connsiteX1" fmla="*/ 2281657 w 2281657"/>
                <a:gd name="connsiteY1" fmla="*/ 0 h 2569824"/>
                <a:gd name="connsiteX2" fmla="*/ 2281657 w 2281657"/>
                <a:gd name="connsiteY2" fmla="*/ 2481872 h 2569824"/>
                <a:gd name="connsiteX3" fmla="*/ 2254841 w 2281657"/>
                <a:gd name="connsiteY3" fmla="*/ 2491687 h 2569824"/>
                <a:gd name="connsiteX4" fmla="*/ 1738010 w 2281657"/>
                <a:gd name="connsiteY4" fmla="*/ 2569824 h 2569824"/>
                <a:gd name="connsiteX5" fmla="*/ 0 w 2281657"/>
                <a:gd name="connsiteY5" fmla="*/ 831814 h 2569824"/>
                <a:gd name="connsiteX6" fmla="*/ 209768 w 2281657"/>
                <a:gd name="connsiteY6" fmla="*/ 3375 h 2569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1657" h="2569824">
                  <a:moveTo>
                    <a:pt x="211819" y="0"/>
                  </a:moveTo>
                  <a:lnTo>
                    <a:pt x="2281657" y="0"/>
                  </a:lnTo>
                  <a:lnTo>
                    <a:pt x="2281657" y="2481872"/>
                  </a:lnTo>
                  <a:lnTo>
                    <a:pt x="2254841" y="2491687"/>
                  </a:lnTo>
                  <a:cubicBezTo>
                    <a:pt x="2091574" y="2542468"/>
                    <a:pt x="1917987" y="2569824"/>
                    <a:pt x="1738010" y="2569824"/>
                  </a:cubicBezTo>
                  <a:cubicBezTo>
                    <a:pt x="778134" y="2569824"/>
                    <a:pt x="0" y="1791690"/>
                    <a:pt x="0" y="831814"/>
                  </a:cubicBezTo>
                  <a:cubicBezTo>
                    <a:pt x="0" y="531853"/>
                    <a:pt x="75990" y="249640"/>
                    <a:pt x="209768" y="33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10026690" y="0"/>
              <a:ext cx="2165310" cy="2469344"/>
            </a:xfrm>
            <a:custGeom>
              <a:avLst/>
              <a:gdLst>
                <a:gd name="connsiteX0" fmla="*/ 230499 w 2165310"/>
                <a:gd name="connsiteY0" fmla="*/ 0 h 2469344"/>
                <a:gd name="connsiteX1" fmla="*/ 2165310 w 2165310"/>
                <a:gd name="connsiteY1" fmla="*/ 0 h 2469344"/>
                <a:gd name="connsiteX2" fmla="*/ 2165310 w 2165310"/>
                <a:gd name="connsiteY2" fmla="*/ 2379833 h 2469344"/>
                <a:gd name="connsiteX3" fmla="*/ 2121623 w 2165310"/>
                <a:gd name="connsiteY3" fmla="*/ 2395823 h 2469344"/>
                <a:gd name="connsiteX4" fmla="*/ 1635327 w 2165310"/>
                <a:gd name="connsiteY4" fmla="*/ 2469344 h 2469344"/>
                <a:gd name="connsiteX5" fmla="*/ 0 w 2165310"/>
                <a:gd name="connsiteY5" fmla="*/ 834017 h 2469344"/>
                <a:gd name="connsiteX6" fmla="*/ 197375 w 2165310"/>
                <a:gd name="connsiteY6" fmla="*/ 54523 h 246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310" h="2469344">
                  <a:moveTo>
                    <a:pt x="230499" y="0"/>
                  </a:moveTo>
                  <a:lnTo>
                    <a:pt x="2165310" y="0"/>
                  </a:lnTo>
                  <a:lnTo>
                    <a:pt x="2165310" y="2379833"/>
                  </a:lnTo>
                  <a:lnTo>
                    <a:pt x="2121623" y="2395823"/>
                  </a:lnTo>
                  <a:cubicBezTo>
                    <a:pt x="1968002" y="2443604"/>
                    <a:pt x="1804671" y="2469344"/>
                    <a:pt x="1635327" y="2469344"/>
                  </a:cubicBezTo>
                  <a:cubicBezTo>
                    <a:pt x="732161" y="2469344"/>
                    <a:pt x="0" y="1737183"/>
                    <a:pt x="0" y="834017"/>
                  </a:cubicBezTo>
                  <a:cubicBezTo>
                    <a:pt x="0" y="551778"/>
                    <a:pt x="71500" y="286238"/>
                    <a:pt x="197375" y="545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" name="组合 13"/>
          <p:cNvGrpSpPr/>
          <p:nvPr userDrawn="1"/>
        </p:nvGrpSpPr>
        <p:grpSpPr>
          <a:xfrm flipH="1">
            <a:off x="2387378" y="2904"/>
            <a:ext cx="9124773" cy="3631888"/>
            <a:chOff x="693514" y="2904"/>
            <a:chExt cx="9124773" cy="3631888"/>
          </a:xfrm>
        </p:grpSpPr>
        <p:sp>
          <p:nvSpPr>
            <p:cNvPr id="16" name="Oval 3227"/>
            <p:cNvSpPr>
              <a:spLocks noChangeArrowheads="1"/>
            </p:cNvSpPr>
            <p:nvPr userDrawn="1"/>
          </p:nvSpPr>
          <p:spPr bwMode="auto">
            <a:xfrm>
              <a:off x="9760681" y="1594450"/>
              <a:ext cx="57606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Oval 3228"/>
            <p:cNvSpPr>
              <a:spLocks noChangeArrowheads="1"/>
            </p:cNvSpPr>
            <p:nvPr userDrawn="1"/>
          </p:nvSpPr>
          <p:spPr bwMode="auto">
            <a:xfrm>
              <a:off x="9299656" y="604423"/>
              <a:ext cx="57606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grpSp>
          <p:nvGrpSpPr>
            <p:cNvPr id="18" name="组合 17"/>
            <p:cNvGrpSpPr/>
            <p:nvPr userDrawn="1"/>
          </p:nvGrpSpPr>
          <p:grpSpPr>
            <a:xfrm>
              <a:off x="693514" y="2904"/>
              <a:ext cx="7625493" cy="3631888"/>
              <a:chOff x="693514" y="2904"/>
              <a:chExt cx="7625493" cy="3631888"/>
            </a:xfrm>
          </p:grpSpPr>
          <p:sp>
            <p:nvSpPr>
              <p:cNvPr id="19" name="Freeform 2851"/>
              <p:cNvSpPr/>
              <p:nvPr userDrawn="1"/>
            </p:nvSpPr>
            <p:spPr bwMode="auto">
              <a:xfrm>
                <a:off x="6114721" y="2506940"/>
                <a:ext cx="704715" cy="700811"/>
              </a:xfrm>
              <a:custGeom>
                <a:avLst/>
                <a:gdLst>
                  <a:gd name="T0" fmla="*/ 366 w 377"/>
                  <a:gd name="T1" fmla="*/ 168 h 376"/>
                  <a:gd name="T2" fmla="*/ 168 w 377"/>
                  <a:gd name="T3" fmla="*/ 11 h 376"/>
                  <a:gd name="T4" fmla="*/ 12 w 377"/>
                  <a:gd name="T5" fmla="*/ 208 h 376"/>
                  <a:gd name="T6" fmla="*/ 209 w 377"/>
                  <a:gd name="T7" fmla="*/ 365 h 376"/>
                  <a:gd name="T8" fmla="*/ 366 w 377"/>
                  <a:gd name="T9" fmla="*/ 168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376">
                    <a:moveTo>
                      <a:pt x="366" y="168"/>
                    </a:moveTo>
                    <a:cubicBezTo>
                      <a:pt x="354" y="70"/>
                      <a:pt x="266" y="0"/>
                      <a:pt x="168" y="11"/>
                    </a:cubicBezTo>
                    <a:cubicBezTo>
                      <a:pt x="71" y="22"/>
                      <a:pt x="0" y="110"/>
                      <a:pt x="12" y="208"/>
                    </a:cubicBezTo>
                    <a:cubicBezTo>
                      <a:pt x="23" y="306"/>
                      <a:pt x="111" y="376"/>
                      <a:pt x="209" y="365"/>
                    </a:cubicBezTo>
                    <a:cubicBezTo>
                      <a:pt x="307" y="354"/>
                      <a:pt x="377" y="266"/>
                      <a:pt x="366" y="168"/>
                    </a:cubicBezTo>
                  </a:path>
                </a:pathLst>
              </a:custGeom>
              <a:solidFill>
                <a:srgbClr val="2A4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0" name="Freeform 2852"/>
              <p:cNvSpPr/>
              <p:nvPr userDrawn="1"/>
            </p:nvSpPr>
            <p:spPr bwMode="auto">
              <a:xfrm>
                <a:off x="6521389" y="2542725"/>
                <a:ext cx="200443" cy="527083"/>
              </a:xfrm>
              <a:custGeom>
                <a:avLst/>
                <a:gdLst>
                  <a:gd name="T0" fmla="*/ 23 w 141"/>
                  <a:gd name="T1" fmla="*/ 265 h 371"/>
                  <a:gd name="T2" fmla="*/ 29 w 141"/>
                  <a:gd name="T3" fmla="*/ 259 h 371"/>
                  <a:gd name="T4" fmla="*/ 47 w 141"/>
                  <a:gd name="T5" fmla="*/ 242 h 371"/>
                  <a:gd name="T6" fmla="*/ 53 w 141"/>
                  <a:gd name="T7" fmla="*/ 238 h 371"/>
                  <a:gd name="T8" fmla="*/ 60 w 141"/>
                  <a:gd name="T9" fmla="*/ 237 h 371"/>
                  <a:gd name="T10" fmla="*/ 67 w 141"/>
                  <a:gd name="T11" fmla="*/ 237 h 371"/>
                  <a:gd name="T12" fmla="*/ 72 w 141"/>
                  <a:gd name="T13" fmla="*/ 237 h 371"/>
                  <a:gd name="T14" fmla="*/ 85 w 141"/>
                  <a:gd name="T15" fmla="*/ 231 h 371"/>
                  <a:gd name="T16" fmla="*/ 84 w 141"/>
                  <a:gd name="T17" fmla="*/ 227 h 371"/>
                  <a:gd name="T18" fmla="*/ 76 w 141"/>
                  <a:gd name="T19" fmla="*/ 209 h 371"/>
                  <a:gd name="T20" fmla="*/ 45 w 141"/>
                  <a:gd name="T21" fmla="*/ 210 h 371"/>
                  <a:gd name="T22" fmla="*/ 14 w 141"/>
                  <a:gd name="T23" fmla="*/ 199 h 371"/>
                  <a:gd name="T24" fmla="*/ 21 w 141"/>
                  <a:gd name="T25" fmla="*/ 174 h 371"/>
                  <a:gd name="T26" fmla="*/ 20 w 141"/>
                  <a:gd name="T27" fmla="*/ 137 h 371"/>
                  <a:gd name="T28" fmla="*/ 31 w 141"/>
                  <a:gd name="T29" fmla="*/ 107 h 371"/>
                  <a:gd name="T30" fmla="*/ 50 w 141"/>
                  <a:gd name="T31" fmla="*/ 115 h 371"/>
                  <a:gd name="T32" fmla="*/ 63 w 141"/>
                  <a:gd name="T33" fmla="*/ 119 h 371"/>
                  <a:gd name="T34" fmla="*/ 64 w 141"/>
                  <a:gd name="T35" fmla="*/ 119 h 371"/>
                  <a:gd name="T36" fmla="*/ 70 w 141"/>
                  <a:gd name="T37" fmla="*/ 116 h 371"/>
                  <a:gd name="T38" fmla="*/ 73 w 141"/>
                  <a:gd name="T39" fmla="*/ 102 h 371"/>
                  <a:gd name="T40" fmla="*/ 57 w 141"/>
                  <a:gd name="T41" fmla="*/ 99 h 371"/>
                  <a:gd name="T42" fmla="*/ 53 w 141"/>
                  <a:gd name="T43" fmla="*/ 82 h 371"/>
                  <a:gd name="T44" fmla="*/ 51 w 141"/>
                  <a:gd name="T45" fmla="*/ 72 h 371"/>
                  <a:gd name="T46" fmla="*/ 46 w 141"/>
                  <a:gd name="T47" fmla="*/ 72 h 371"/>
                  <a:gd name="T48" fmla="*/ 31 w 141"/>
                  <a:gd name="T49" fmla="*/ 70 h 371"/>
                  <a:gd name="T50" fmla="*/ 15 w 141"/>
                  <a:gd name="T51" fmla="*/ 67 h 371"/>
                  <a:gd name="T52" fmla="*/ 7 w 141"/>
                  <a:gd name="T53" fmla="*/ 62 h 371"/>
                  <a:gd name="T54" fmla="*/ 3 w 141"/>
                  <a:gd name="T55" fmla="*/ 37 h 371"/>
                  <a:gd name="T56" fmla="*/ 5 w 141"/>
                  <a:gd name="T57" fmla="*/ 23 h 371"/>
                  <a:gd name="T58" fmla="*/ 7 w 141"/>
                  <a:gd name="T59" fmla="*/ 15 h 371"/>
                  <a:gd name="T60" fmla="*/ 10 w 141"/>
                  <a:gd name="T61" fmla="*/ 14 h 371"/>
                  <a:gd name="T62" fmla="*/ 53 w 141"/>
                  <a:gd name="T63" fmla="*/ 11 h 371"/>
                  <a:gd name="T64" fmla="*/ 88 w 141"/>
                  <a:gd name="T65" fmla="*/ 39 h 371"/>
                  <a:gd name="T66" fmla="*/ 119 w 141"/>
                  <a:gd name="T67" fmla="*/ 62 h 371"/>
                  <a:gd name="T68" fmla="*/ 123 w 141"/>
                  <a:gd name="T69" fmla="*/ 61 h 371"/>
                  <a:gd name="T70" fmla="*/ 138 w 141"/>
                  <a:gd name="T71" fmla="*/ 94 h 371"/>
                  <a:gd name="T72" fmla="*/ 138 w 141"/>
                  <a:gd name="T73" fmla="*/ 130 h 371"/>
                  <a:gd name="T74" fmla="*/ 140 w 141"/>
                  <a:gd name="T75" fmla="*/ 167 h 371"/>
                  <a:gd name="T76" fmla="*/ 129 w 141"/>
                  <a:gd name="T77" fmla="*/ 186 h 371"/>
                  <a:gd name="T78" fmla="*/ 106 w 141"/>
                  <a:gd name="T79" fmla="*/ 209 h 371"/>
                  <a:gd name="T80" fmla="*/ 99 w 141"/>
                  <a:gd name="T81" fmla="*/ 232 h 371"/>
                  <a:gd name="T82" fmla="*/ 83 w 141"/>
                  <a:gd name="T83" fmla="*/ 253 h 371"/>
                  <a:gd name="T84" fmla="*/ 89 w 141"/>
                  <a:gd name="T85" fmla="*/ 275 h 371"/>
                  <a:gd name="T86" fmla="*/ 82 w 141"/>
                  <a:gd name="T87" fmla="*/ 285 h 371"/>
                  <a:gd name="T88" fmla="*/ 81 w 141"/>
                  <a:gd name="T89" fmla="*/ 318 h 371"/>
                  <a:gd name="T90" fmla="*/ 59 w 141"/>
                  <a:gd name="T91" fmla="*/ 366 h 371"/>
                  <a:gd name="T92" fmla="*/ 58 w 141"/>
                  <a:gd name="T93" fmla="*/ 369 h 371"/>
                  <a:gd name="T94" fmla="*/ 53 w 141"/>
                  <a:gd name="T95" fmla="*/ 370 h 371"/>
                  <a:gd name="T96" fmla="*/ 49 w 141"/>
                  <a:gd name="T97" fmla="*/ 369 h 371"/>
                  <a:gd name="T98" fmla="*/ 49 w 141"/>
                  <a:gd name="T99" fmla="*/ 368 h 371"/>
                  <a:gd name="T100" fmla="*/ 47 w 141"/>
                  <a:gd name="T101" fmla="*/ 362 h 371"/>
                  <a:gd name="T102" fmla="*/ 53 w 141"/>
                  <a:gd name="T103" fmla="*/ 338 h 371"/>
                  <a:gd name="T104" fmla="*/ 39 w 141"/>
                  <a:gd name="T105" fmla="*/ 315 h 371"/>
                  <a:gd name="T106" fmla="*/ 35 w 141"/>
                  <a:gd name="T107" fmla="*/ 312 h 371"/>
                  <a:gd name="T108" fmla="*/ 22 w 141"/>
                  <a:gd name="T109" fmla="*/ 300 h 371"/>
                  <a:gd name="T110" fmla="*/ 16 w 141"/>
                  <a:gd name="T111" fmla="*/ 286 h 371"/>
                  <a:gd name="T112" fmla="*/ 23 w 141"/>
                  <a:gd name="T113" fmla="*/ 26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1" h="371">
                    <a:moveTo>
                      <a:pt x="23" y="265"/>
                    </a:moveTo>
                    <a:cubicBezTo>
                      <a:pt x="25" y="263"/>
                      <a:pt x="27" y="261"/>
                      <a:pt x="29" y="259"/>
                    </a:cubicBezTo>
                    <a:cubicBezTo>
                      <a:pt x="30" y="250"/>
                      <a:pt x="38" y="247"/>
                      <a:pt x="47" y="242"/>
                    </a:cubicBezTo>
                    <a:cubicBezTo>
                      <a:pt x="49" y="241"/>
                      <a:pt x="51" y="239"/>
                      <a:pt x="53" y="238"/>
                    </a:cubicBezTo>
                    <a:cubicBezTo>
                      <a:pt x="55" y="237"/>
                      <a:pt x="57" y="237"/>
                      <a:pt x="60" y="237"/>
                    </a:cubicBezTo>
                    <a:cubicBezTo>
                      <a:pt x="62" y="237"/>
                      <a:pt x="65" y="237"/>
                      <a:pt x="67" y="237"/>
                    </a:cubicBezTo>
                    <a:cubicBezTo>
                      <a:pt x="69" y="237"/>
                      <a:pt x="71" y="237"/>
                      <a:pt x="72" y="237"/>
                    </a:cubicBezTo>
                    <a:cubicBezTo>
                      <a:pt x="76" y="237"/>
                      <a:pt x="88" y="236"/>
                      <a:pt x="85" y="231"/>
                    </a:cubicBezTo>
                    <a:cubicBezTo>
                      <a:pt x="85" y="229"/>
                      <a:pt x="84" y="228"/>
                      <a:pt x="84" y="227"/>
                    </a:cubicBezTo>
                    <a:cubicBezTo>
                      <a:pt x="79" y="222"/>
                      <a:pt x="76" y="217"/>
                      <a:pt x="76" y="209"/>
                    </a:cubicBezTo>
                    <a:cubicBezTo>
                      <a:pt x="75" y="192"/>
                      <a:pt x="50" y="209"/>
                      <a:pt x="45" y="210"/>
                    </a:cubicBezTo>
                    <a:cubicBezTo>
                      <a:pt x="37" y="212"/>
                      <a:pt x="14" y="212"/>
                      <a:pt x="14" y="199"/>
                    </a:cubicBezTo>
                    <a:cubicBezTo>
                      <a:pt x="13" y="189"/>
                      <a:pt x="18" y="183"/>
                      <a:pt x="21" y="174"/>
                    </a:cubicBezTo>
                    <a:cubicBezTo>
                      <a:pt x="24" y="161"/>
                      <a:pt x="26" y="149"/>
                      <a:pt x="20" y="137"/>
                    </a:cubicBezTo>
                    <a:cubicBezTo>
                      <a:pt x="13" y="125"/>
                      <a:pt x="14" y="109"/>
                      <a:pt x="31" y="107"/>
                    </a:cubicBezTo>
                    <a:cubicBezTo>
                      <a:pt x="37" y="106"/>
                      <a:pt x="45" y="112"/>
                      <a:pt x="50" y="115"/>
                    </a:cubicBezTo>
                    <a:cubicBezTo>
                      <a:pt x="54" y="117"/>
                      <a:pt x="59" y="119"/>
                      <a:pt x="63" y="119"/>
                    </a:cubicBezTo>
                    <a:cubicBezTo>
                      <a:pt x="64" y="119"/>
                      <a:pt x="64" y="119"/>
                      <a:pt x="64" y="119"/>
                    </a:cubicBezTo>
                    <a:cubicBezTo>
                      <a:pt x="66" y="118"/>
                      <a:pt x="68" y="117"/>
                      <a:pt x="70" y="116"/>
                    </a:cubicBezTo>
                    <a:cubicBezTo>
                      <a:pt x="78" y="113"/>
                      <a:pt x="79" y="108"/>
                      <a:pt x="73" y="102"/>
                    </a:cubicBezTo>
                    <a:cubicBezTo>
                      <a:pt x="66" y="103"/>
                      <a:pt x="62" y="103"/>
                      <a:pt x="57" y="99"/>
                    </a:cubicBezTo>
                    <a:cubicBezTo>
                      <a:pt x="52" y="95"/>
                      <a:pt x="53" y="87"/>
                      <a:pt x="53" y="82"/>
                    </a:cubicBezTo>
                    <a:cubicBezTo>
                      <a:pt x="54" y="79"/>
                      <a:pt x="54" y="75"/>
                      <a:pt x="51" y="72"/>
                    </a:cubicBezTo>
                    <a:cubicBezTo>
                      <a:pt x="50" y="72"/>
                      <a:pt x="48" y="72"/>
                      <a:pt x="46" y="72"/>
                    </a:cubicBezTo>
                    <a:cubicBezTo>
                      <a:pt x="41" y="72"/>
                      <a:pt x="36" y="70"/>
                      <a:pt x="31" y="70"/>
                    </a:cubicBezTo>
                    <a:cubicBezTo>
                      <a:pt x="25" y="70"/>
                      <a:pt x="20" y="70"/>
                      <a:pt x="15" y="67"/>
                    </a:cubicBezTo>
                    <a:cubicBezTo>
                      <a:pt x="12" y="66"/>
                      <a:pt x="10" y="64"/>
                      <a:pt x="7" y="62"/>
                    </a:cubicBezTo>
                    <a:cubicBezTo>
                      <a:pt x="0" y="55"/>
                      <a:pt x="0" y="46"/>
                      <a:pt x="3" y="37"/>
                    </a:cubicBezTo>
                    <a:cubicBezTo>
                      <a:pt x="3" y="32"/>
                      <a:pt x="3" y="27"/>
                      <a:pt x="5" y="23"/>
                    </a:cubicBezTo>
                    <a:cubicBezTo>
                      <a:pt x="5" y="20"/>
                      <a:pt x="6" y="17"/>
                      <a:pt x="7" y="15"/>
                    </a:cubicBezTo>
                    <a:cubicBezTo>
                      <a:pt x="8" y="14"/>
                      <a:pt x="9" y="14"/>
                      <a:pt x="10" y="14"/>
                    </a:cubicBezTo>
                    <a:cubicBezTo>
                      <a:pt x="15" y="0"/>
                      <a:pt x="41" y="6"/>
                      <a:pt x="53" y="11"/>
                    </a:cubicBezTo>
                    <a:cubicBezTo>
                      <a:pt x="67" y="17"/>
                      <a:pt x="81" y="25"/>
                      <a:pt x="88" y="39"/>
                    </a:cubicBezTo>
                    <a:cubicBezTo>
                      <a:pt x="95" y="50"/>
                      <a:pt x="108" y="54"/>
                      <a:pt x="119" y="62"/>
                    </a:cubicBezTo>
                    <a:cubicBezTo>
                      <a:pt x="120" y="61"/>
                      <a:pt x="121" y="61"/>
                      <a:pt x="123" y="61"/>
                    </a:cubicBezTo>
                    <a:cubicBezTo>
                      <a:pt x="132" y="65"/>
                      <a:pt x="137" y="85"/>
                      <a:pt x="138" y="94"/>
                    </a:cubicBezTo>
                    <a:cubicBezTo>
                      <a:pt x="139" y="106"/>
                      <a:pt x="135" y="117"/>
                      <a:pt x="138" y="130"/>
                    </a:cubicBezTo>
                    <a:cubicBezTo>
                      <a:pt x="140" y="142"/>
                      <a:pt x="141" y="155"/>
                      <a:pt x="140" y="167"/>
                    </a:cubicBezTo>
                    <a:cubicBezTo>
                      <a:pt x="139" y="174"/>
                      <a:pt x="133" y="181"/>
                      <a:pt x="129" y="186"/>
                    </a:cubicBezTo>
                    <a:cubicBezTo>
                      <a:pt x="123" y="195"/>
                      <a:pt x="106" y="197"/>
                      <a:pt x="106" y="209"/>
                    </a:cubicBezTo>
                    <a:cubicBezTo>
                      <a:pt x="106" y="218"/>
                      <a:pt x="102" y="223"/>
                      <a:pt x="99" y="232"/>
                    </a:cubicBezTo>
                    <a:cubicBezTo>
                      <a:pt x="97" y="239"/>
                      <a:pt x="84" y="247"/>
                      <a:pt x="83" y="253"/>
                    </a:cubicBezTo>
                    <a:cubicBezTo>
                      <a:pt x="87" y="261"/>
                      <a:pt x="91" y="265"/>
                      <a:pt x="89" y="275"/>
                    </a:cubicBezTo>
                    <a:cubicBezTo>
                      <a:pt x="89" y="278"/>
                      <a:pt x="85" y="282"/>
                      <a:pt x="82" y="285"/>
                    </a:cubicBezTo>
                    <a:cubicBezTo>
                      <a:pt x="73" y="295"/>
                      <a:pt x="80" y="307"/>
                      <a:pt x="81" y="318"/>
                    </a:cubicBezTo>
                    <a:cubicBezTo>
                      <a:pt x="84" y="338"/>
                      <a:pt x="75" y="355"/>
                      <a:pt x="59" y="366"/>
                    </a:cubicBezTo>
                    <a:cubicBezTo>
                      <a:pt x="59" y="367"/>
                      <a:pt x="59" y="368"/>
                      <a:pt x="58" y="369"/>
                    </a:cubicBezTo>
                    <a:cubicBezTo>
                      <a:pt x="56" y="369"/>
                      <a:pt x="55" y="370"/>
                      <a:pt x="53" y="370"/>
                    </a:cubicBezTo>
                    <a:cubicBezTo>
                      <a:pt x="52" y="371"/>
                      <a:pt x="50" y="370"/>
                      <a:pt x="49" y="369"/>
                    </a:cubicBezTo>
                    <a:cubicBezTo>
                      <a:pt x="49" y="368"/>
                      <a:pt x="49" y="368"/>
                      <a:pt x="49" y="368"/>
                    </a:cubicBezTo>
                    <a:cubicBezTo>
                      <a:pt x="47" y="367"/>
                      <a:pt x="47" y="365"/>
                      <a:pt x="47" y="362"/>
                    </a:cubicBezTo>
                    <a:cubicBezTo>
                      <a:pt x="47" y="354"/>
                      <a:pt x="51" y="346"/>
                      <a:pt x="53" y="338"/>
                    </a:cubicBezTo>
                    <a:cubicBezTo>
                      <a:pt x="51" y="328"/>
                      <a:pt x="45" y="322"/>
                      <a:pt x="39" y="315"/>
                    </a:cubicBezTo>
                    <a:cubicBezTo>
                      <a:pt x="37" y="315"/>
                      <a:pt x="36" y="314"/>
                      <a:pt x="35" y="312"/>
                    </a:cubicBezTo>
                    <a:cubicBezTo>
                      <a:pt x="34" y="304"/>
                      <a:pt x="27" y="304"/>
                      <a:pt x="22" y="300"/>
                    </a:cubicBezTo>
                    <a:cubicBezTo>
                      <a:pt x="18" y="297"/>
                      <a:pt x="18" y="289"/>
                      <a:pt x="16" y="286"/>
                    </a:cubicBezTo>
                    <a:cubicBezTo>
                      <a:pt x="10" y="279"/>
                      <a:pt x="18" y="270"/>
                      <a:pt x="23" y="265"/>
                    </a:cubicBezTo>
                  </a:path>
                </a:pathLst>
              </a:cu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" name="Freeform 2853"/>
              <p:cNvSpPr/>
              <p:nvPr userDrawn="1"/>
            </p:nvSpPr>
            <p:spPr bwMode="auto">
              <a:xfrm>
                <a:off x="6152517" y="2606484"/>
                <a:ext cx="264284" cy="460268"/>
              </a:xfrm>
              <a:custGeom>
                <a:avLst/>
                <a:gdLst>
                  <a:gd name="T0" fmla="*/ 1 w 186"/>
                  <a:gd name="T1" fmla="*/ 124 h 324"/>
                  <a:gd name="T2" fmla="*/ 5 w 186"/>
                  <a:gd name="T3" fmla="*/ 85 h 324"/>
                  <a:gd name="T4" fmla="*/ 21 w 186"/>
                  <a:gd name="T5" fmla="*/ 52 h 324"/>
                  <a:gd name="T6" fmla="*/ 47 w 186"/>
                  <a:gd name="T7" fmla="*/ 29 h 324"/>
                  <a:gd name="T8" fmla="*/ 75 w 186"/>
                  <a:gd name="T9" fmla="*/ 4 h 324"/>
                  <a:gd name="T10" fmla="*/ 78 w 186"/>
                  <a:gd name="T11" fmla="*/ 2 h 324"/>
                  <a:gd name="T12" fmla="*/ 83 w 186"/>
                  <a:gd name="T13" fmla="*/ 3 h 324"/>
                  <a:gd name="T14" fmla="*/ 113 w 186"/>
                  <a:gd name="T15" fmla="*/ 32 h 324"/>
                  <a:gd name="T16" fmla="*/ 130 w 186"/>
                  <a:gd name="T17" fmla="*/ 46 h 324"/>
                  <a:gd name="T18" fmla="*/ 135 w 186"/>
                  <a:gd name="T19" fmla="*/ 77 h 324"/>
                  <a:gd name="T20" fmla="*/ 143 w 186"/>
                  <a:gd name="T21" fmla="*/ 103 h 324"/>
                  <a:gd name="T22" fmla="*/ 119 w 186"/>
                  <a:gd name="T23" fmla="*/ 117 h 324"/>
                  <a:gd name="T24" fmla="*/ 112 w 186"/>
                  <a:gd name="T25" fmla="*/ 101 h 324"/>
                  <a:gd name="T26" fmla="*/ 106 w 186"/>
                  <a:gd name="T27" fmla="*/ 101 h 324"/>
                  <a:gd name="T28" fmla="*/ 106 w 186"/>
                  <a:gd name="T29" fmla="*/ 102 h 324"/>
                  <a:gd name="T30" fmla="*/ 141 w 186"/>
                  <a:gd name="T31" fmla="*/ 135 h 324"/>
                  <a:gd name="T32" fmla="*/ 152 w 186"/>
                  <a:gd name="T33" fmla="*/ 126 h 324"/>
                  <a:gd name="T34" fmla="*/ 161 w 186"/>
                  <a:gd name="T35" fmla="*/ 130 h 324"/>
                  <a:gd name="T36" fmla="*/ 151 w 186"/>
                  <a:gd name="T37" fmla="*/ 164 h 324"/>
                  <a:gd name="T38" fmla="*/ 149 w 186"/>
                  <a:gd name="T39" fmla="*/ 164 h 324"/>
                  <a:gd name="T40" fmla="*/ 153 w 186"/>
                  <a:gd name="T41" fmla="*/ 174 h 324"/>
                  <a:gd name="T42" fmla="*/ 160 w 186"/>
                  <a:gd name="T43" fmla="*/ 175 h 324"/>
                  <a:gd name="T44" fmla="*/ 163 w 186"/>
                  <a:gd name="T45" fmla="*/ 187 h 324"/>
                  <a:gd name="T46" fmla="*/ 146 w 186"/>
                  <a:gd name="T47" fmla="*/ 198 h 324"/>
                  <a:gd name="T48" fmla="*/ 131 w 186"/>
                  <a:gd name="T49" fmla="*/ 187 h 324"/>
                  <a:gd name="T50" fmla="*/ 130 w 186"/>
                  <a:gd name="T51" fmla="*/ 186 h 324"/>
                  <a:gd name="T52" fmla="*/ 123 w 186"/>
                  <a:gd name="T53" fmla="*/ 191 h 324"/>
                  <a:gd name="T54" fmla="*/ 117 w 186"/>
                  <a:gd name="T55" fmla="*/ 198 h 324"/>
                  <a:gd name="T56" fmla="*/ 110 w 186"/>
                  <a:gd name="T57" fmla="*/ 183 h 324"/>
                  <a:gd name="T58" fmla="*/ 109 w 186"/>
                  <a:gd name="T59" fmla="*/ 184 h 324"/>
                  <a:gd name="T60" fmla="*/ 103 w 186"/>
                  <a:gd name="T61" fmla="*/ 186 h 324"/>
                  <a:gd name="T62" fmla="*/ 89 w 186"/>
                  <a:gd name="T63" fmla="*/ 176 h 324"/>
                  <a:gd name="T64" fmla="*/ 85 w 186"/>
                  <a:gd name="T65" fmla="*/ 178 h 324"/>
                  <a:gd name="T66" fmla="*/ 85 w 186"/>
                  <a:gd name="T67" fmla="*/ 178 h 324"/>
                  <a:gd name="T68" fmla="*/ 90 w 186"/>
                  <a:gd name="T69" fmla="*/ 199 h 324"/>
                  <a:gd name="T70" fmla="*/ 105 w 186"/>
                  <a:gd name="T71" fmla="*/ 208 h 324"/>
                  <a:gd name="T72" fmla="*/ 140 w 186"/>
                  <a:gd name="T73" fmla="*/ 207 h 324"/>
                  <a:gd name="T74" fmla="*/ 170 w 186"/>
                  <a:gd name="T75" fmla="*/ 203 h 324"/>
                  <a:gd name="T76" fmla="*/ 173 w 186"/>
                  <a:gd name="T77" fmla="*/ 249 h 324"/>
                  <a:gd name="T78" fmla="*/ 152 w 186"/>
                  <a:gd name="T79" fmla="*/ 271 h 324"/>
                  <a:gd name="T80" fmla="*/ 156 w 186"/>
                  <a:gd name="T81" fmla="*/ 288 h 324"/>
                  <a:gd name="T82" fmla="*/ 142 w 186"/>
                  <a:gd name="T83" fmla="*/ 322 h 324"/>
                  <a:gd name="T84" fmla="*/ 124 w 186"/>
                  <a:gd name="T85" fmla="*/ 304 h 324"/>
                  <a:gd name="T86" fmla="*/ 111 w 186"/>
                  <a:gd name="T87" fmla="*/ 249 h 324"/>
                  <a:gd name="T88" fmla="*/ 107 w 186"/>
                  <a:gd name="T89" fmla="*/ 255 h 324"/>
                  <a:gd name="T90" fmla="*/ 88 w 186"/>
                  <a:gd name="T91" fmla="*/ 256 h 324"/>
                  <a:gd name="T92" fmla="*/ 82 w 186"/>
                  <a:gd name="T93" fmla="*/ 242 h 324"/>
                  <a:gd name="T94" fmla="*/ 80 w 186"/>
                  <a:gd name="T95" fmla="*/ 233 h 324"/>
                  <a:gd name="T96" fmla="*/ 64 w 186"/>
                  <a:gd name="T97" fmla="*/ 243 h 324"/>
                  <a:gd name="T98" fmla="*/ 58 w 186"/>
                  <a:gd name="T99" fmla="*/ 242 h 324"/>
                  <a:gd name="T100" fmla="*/ 57 w 186"/>
                  <a:gd name="T101" fmla="*/ 240 h 324"/>
                  <a:gd name="T102" fmla="*/ 1 w 186"/>
                  <a:gd name="T103" fmla="*/ 12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24">
                    <a:moveTo>
                      <a:pt x="1" y="124"/>
                    </a:moveTo>
                    <a:cubicBezTo>
                      <a:pt x="1" y="111"/>
                      <a:pt x="1" y="97"/>
                      <a:pt x="5" y="85"/>
                    </a:cubicBezTo>
                    <a:cubicBezTo>
                      <a:pt x="9" y="74"/>
                      <a:pt x="16" y="63"/>
                      <a:pt x="21" y="52"/>
                    </a:cubicBezTo>
                    <a:cubicBezTo>
                      <a:pt x="26" y="42"/>
                      <a:pt x="39" y="38"/>
                      <a:pt x="47" y="29"/>
                    </a:cubicBezTo>
                    <a:cubicBezTo>
                      <a:pt x="54" y="19"/>
                      <a:pt x="65" y="12"/>
                      <a:pt x="75" y="4"/>
                    </a:cubicBezTo>
                    <a:cubicBezTo>
                      <a:pt x="76" y="3"/>
                      <a:pt x="76" y="3"/>
                      <a:pt x="78" y="2"/>
                    </a:cubicBezTo>
                    <a:cubicBezTo>
                      <a:pt x="79" y="1"/>
                      <a:pt x="82" y="0"/>
                      <a:pt x="83" y="3"/>
                    </a:cubicBezTo>
                    <a:cubicBezTo>
                      <a:pt x="91" y="14"/>
                      <a:pt x="101" y="25"/>
                      <a:pt x="113" y="32"/>
                    </a:cubicBezTo>
                    <a:cubicBezTo>
                      <a:pt x="119" y="35"/>
                      <a:pt x="128" y="40"/>
                      <a:pt x="130" y="46"/>
                    </a:cubicBezTo>
                    <a:cubicBezTo>
                      <a:pt x="133" y="56"/>
                      <a:pt x="130" y="67"/>
                      <a:pt x="135" y="77"/>
                    </a:cubicBezTo>
                    <a:cubicBezTo>
                      <a:pt x="139" y="85"/>
                      <a:pt x="144" y="94"/>
                      <a:pt x="143" y="103"/>
                    </a:cubicBezTo>
                    <a:cubicBezTo>
                      <a:pt x="142" y="117"/>
                      <a:pt x="132" y="124"/>
                      <a:pt x="119" y="117"/>
                    </a:cubicBezTo>
                    <a:cubicBezTo>
                      <a:pt x="114" y="114"/>
                      <a:pt x="113" y="106"/>
                      <a:pt x="112" y="101"/>
                    </a:cubicBezTo>
                    <a:cubicBezTo>
                      <a:pt x="109" y="86"/>
                      <a:pt x="107" y="93"/>
                      <a:pt x="106" y="101"/>
                    </a:cubicBezTo>
                    <a:cubicBezTo>
                      <a:pt x="106" y="101"/>
                      <a:pt x="106" y="101"/>
                      <a:pt x="106" y="102"/>
                    </a:cubicBezTo>
                    <a:cubicBezTo>
                      <a:pt x="105" y="117"/>
                      <a:pt x="117" y="151"/>
                      <a:pt x="141" y="135"/>
                    </a:cubicBezTo>
                    <a:cubicBezTo>
                      <a:pt x="145" y="132"/>
                      <a:pt x="148" y="128"/>
                      <a:pt x="152" y="126"/>
                    </a:cubicBezTo>
                    <a:cubicBezTo>
                      <a:pt x="155" y="125"/>
                      <a:pt x="160" y="127"/>
                      <a:pt x="161" y="130"/>
                    </a:cubicBezTo>
                    <a:cubicBezTo>
                      <a:pt x="164" y="143"/>
                      <a:pt x="167" y="162"/>
                      <a:pt x="151" y="164"/>
                    </a:cubicBezTo>
                    <a:cubicBezTo>
                      <a:pt x="150" y="164"/>
                      <a:pt x="149" y="164"/>
                      <a:pt x="149" y="164"/>
                    </a:cubicBezTo>
                    <a:cubicBezTo>
                      <a:pt x="142" y="160"/>
                      <a:pt x="144" y="164"/>
                      <a:pt x="153" y="174"/>
                    </a:cubicBezTo>
                    <a:cubicBezTo>
                      <a:pt x="155" y="174"/>
                      <a:pt x="158" y="174"/>
                      <a:pt x="160" y="175"/>
                    </a:cubicBezTo>
                    <a:cubicBezTo>
                      <a:pt x="163" y="178"/>
                      <a:pt x="167" y="182"/>
                      <a:pt x="163" y="187"/>
                    </a:cubicBezTo>
                    <a:cubicBezTo>
                      <a:pt x="159" y="192"/>
                      <a:pt x="151" y="196"/>
                      <a:pt x="146" y="198"/>
                    </a:cubicBezTo>
                    <a:cubicBezTo>
                      <a:pt x="141" y="201"/>
                      <a:pt x="134" y="191"/>
                      <a:pt x="131" y="187"/>
                    </a:cubicBezTo>
                    <a:cubicBezTo>
                      <a:pt x="131" y="187"/>
                      <a:pt x="130" y="187"/>
                      <a:pt x="130" y="186"/>
                    </a:cubicBezTo>
                    <a:cubicBezTo>
                      <a:pt x="125" y="182"/>
                      <a:pt x="124" y="186"/>
                      <a:pt x="123" y="191"/>
                    </a:cubicBezTo>
                    <a:cubicBezTo>
                      <a:pt x="122" y="195"/>
                      <a:pt x="121" y="198"/>
                      <a:pt x="117" y="198"/>
                    </a:cubicBezTo>
                    <a:cubicBezTo>
                      <a:pt x="109" y="196"/>
                      <a:pt x="110" y="189"/>
                      <a:pt x="110" y="183"/>
                    </a:cubicBezTo>
                    <a:cubicBezTo>
                      <a:pt x="109" y="183"/>
                      <a:pt x="109" y="184"/>
                      <a:pt x="109" y="184"/>
                    </a:cubicBezTo>
                    <a:cubicBezTo>
                      <a:pt x="107" y="185"/>
                      <a:pt x="104" y="185"/>
                      <a:pt x="103" y="186"/>
                    </a:cubicBezTo>
                    <a:cubicBezTo>
                      <a:pt x="98" y="188"/>
                      <a:pt x="93" y="179"/>
                      <a:pt x="89" y="176"/>
                    </a:cubicBezTo>
                    <a:cubicBezTo>
                      <a:pt x="88" y="177"/>
                      <a:pt x="87" y="178"/>
                      <a:pt x="85" y="178"/>
                    </a:cubicBezTo>
                    <a:cubicBezTo>
                      <a:pt x="85" y="178"/>
                      <a:pt x="85" y="178"/>
                      <a:pt x="85" y="178"/>
                    </a:cubicBezTo>
                    <a:cubicBezTo>
                      <a:pt x="82" y="185"/>
                      <a:pt x="84" y="192"/>
                      <a:pt x="90" y="199"/>
                    </a:cubicBezTo>
                    <a:cubicBezTo>
                      <a:pt x="95" y="202"/>
                      <a:pt x="100" y="205"/>
                      <a:pt x="105" y="208"/>
                    </a:cubicBezTo>
                    <a:cubicBezTo>
                      <a:pt x="116" y="213"/>
                      <a:pt x="129" y="211"/>
                      <a:pt x="140" y="207"/>
                    </a:cubicBezTo>
                    <a:cubicBezTo>
                      <a:pt x="152" y="203"/>
                      <a:pt x="158" y="198"/>
                      <a:pt x="170" y="203"/>
                    </a:cubicBezTo>
                    <a:cubicBezTo>
                      <a:pt x="186" y="211"/>
                      <a:pt x="185" y="243"/>
                      <a:pt x="173" y="249"/>
                    </a:cubicBezTo>
                    <a:cubicBezTo>
                      <a:pt x="161" y="256"/>
                      <a:pt x="146" y="255"/>
                      <a:pt x="152" y="271"/>
                    </a:cubicBezTo>
                    <a:cubicBezTo>
                      <a:pt x="154" y="276"/>
                      <a:pt x="158" y="283"/>
                      <a:pt x="156" y="288"/>
                    </a:cubicBezTo>
                    <a:cubicBezTo>
                      <a:pt x="155" y="293"/>
                      <a:pt x="150" y="324"/>
                      <a:pt x="142" y="322"/>
                    </a:cubicBezTo>
                    <a:cubicBezTo>
                      <a:pt x="132" y="320"/>
                      <a:pt x="128" y="313"/>
                      <a:pt x="124" y="304"/>
                    </a:cubicBezTo>
                    <a:cubicBezTo>
                      <a:pt x="119" y="293"/>
                      <a:pt x="115" y="261"/>
                      <a:pt x="111" y="249"/>
                    </a:cubicBezTo>
                    <a:cubicBezTo>
                      <a:pt x="110" y="251"/>
                      <a:pt x="109" y="254"/>
                      <a:pt x="107" y="255"/>
                    </a:cubicBezTo>
                    <a:cubicBezTo>
                      <a:pt x="101" y="259"/>
                      <a:pt x="94" y="259"/>
                      <a:pt x="88" y="256"/>
                    </a:cubicBezTo>
                    <a:cubicBezTo>
                      <a:pt x="83" y="253"/>
                      <a:pt x="81" y="248"/>
                      <a:pt x="82" y="242"/>
                    </a:cubicBezTo>
                    <a:cubicBezTo>
                      <a:pt x="83" y="238"/>
                      <a:pt x="87" y="232"/>
                      <a:pt x="80" y="233"/>
                    </a:cubicBezTo>
                    <a:cubicBezTo>
                      <a:pt x="73" y="234"/>
                      <a:pt x="68" y="237"/>
                      <a:pt x="64" y="243"/>
                    </a:cubicBezTo>
                    <a:cubicBezTo>
                      <a:pt x="63" y="244"/>
                      <a:pt x="60" y="244"/>
                      <a:pt x="58" y="242"/>
                    </a:cubicBezTo>
                    <a:cubicBezTo>
                      <a:pt x="58" y="242"/>
                      <a:pt x="57" y="241"/>
                      <a:pt x="57" y="240"/>
                    </a:cubicBezTo>
                    <a:cubicBezTo>
                      <a:pt x="15" y="225"/>
                      <a:pt x="0" y="163"/>
                      <a:pt x="1" y="124"/>
                    </a:cubicBezTo>
                  </a:path>
                </a:pathLst>
              </a:cu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Freeform 2854"/>
              <p:cNvSpPr>
                <a:spLocks noEditPoints="1"/>
              </p:cNvSpPr>
              <p:nvPr userDrawn="1"/>
            </p:nvSpPr>
            <p:spPr bwMode="auto">
              <a:xfrm>
                <a:off x="6136195" y="2887603"/>
                <a:ext cx="384568" cy="302579"/>
              </a:xfrm>
              <a:custGeom>
                <a:avLst/>
                <a:gdLst>
                  <a:gd name="T0" fmla="*/ 177 w 206"/>
                  <a:gd name="T1" fmla="*/ 162 h 162"/>
                  <a:gd name="T2" fmla="*/ 177 w 206"/>
                  <a:gd name="T3" fmla="*/ 162 h 162"/>
                  <a:gd name="T4" fmla="*/ 177 w 206"/>
                  <a:gd name="T5" fmla="*/ 162 h 162"/>
                  <a:gd name="T6" fmla="*/ 177 w 206"/>
                  <a:gd name="T7" fmla="*/ 162 h 162"/>
                  <a:gd name="T8" fmla="*/ 198 w 206"/>
                  <a:gd name="T9" fmla="*/ 161 h 162"/>
                  <a:gd name="T10" fmla="*/ 197 w 206"/>
                  <a:gd name="T11" fmla="*/ 161 h 162"/>
                  <a:gd name="T12" fmla="*/ 198 w 206"/>
                  <a:gd name="T13" fmla="*/ 161 h 162"/>
                  <a:gd name="T14" fmla="*/ 199 w 206"/>
                  <a:gd name="T15" fmla="*/ 161 h 162"/>
                  <a:gd name="T16" fmla="*/ 199 w 206"/>
                  <a:gd name="T17" fmla="*/ 161 h 162"/>
                  <a:gd name="T18" fmla="*/ 199 w 206"/>
                  <a:gd name="T19" fmla="*/ 161 h 162"/>
                  <a:gd name="T20" fmla="*/ 200 w 206"/>
                  <a:gd name="T21" fmla="*/ 161 h 162"/>
                  <a:gd name="T22" fmla="*/ 199 w 206"/>
                  <a:gd name="T23" fmla="*/ 161 h 162"/>
                  <a:gd name="T24" fmla="*/ 200 w 206"/>
                  <a:gd name="T25" fmla="*/ 161 h 162"/>
                  <a:gd name="T26" fmla="*/ 200 w 206"/>
                  <a:gd name="T27" fmla="*/ 161 h 162"/>
                  <a:gd name="T28" fmla="*/ 200 w 206"/>
                  <a:gd name="T29" fmla="*/ 161 h 162"/>
                  <a:gd name="T30" fmla="*/ 200 w 206"/>
                  <a:gd name="T31" fmla="*/ 161 h 162"/>
                  <a:gd name="T32" fmla="*/ 201 w 206"/>
                  <a:gd name="T33" fmla="*/ 161 h 162"/>
                  <a:gd name="T34" fmla="*/ 201 w 206"/>
                  <a:gd name="T35" fmla="*/ 161 h 162"/>
                  <a:gd name="T36" fmla="*/ 201 w 206"/>
                  <a:gd name="T37" fmla="*/ 161 h 162"/>
                  <a:gd name="T38" fmla="*/ 202 w 206"/>
                  <a:gd name="T39" fmla="*/ 161 h 162"/>
                  <a:gd name="T40" fmla="*/ 202 w 206"/>
                  <a:gd name="T41" fmla="*/ 161 h 162"/>
                  <a:gd name="T42" fmla="*/ 202 w 206"/>
                  <a:gd name="T43" fmla="*/ 161 h 162"/>
                  <a:gd name="T44" fmla="*/ 203 w 206"/>
                  <a:gd name="T45" fmla="*/ 160 h 162"/>
                  <a:gd name="T46" fmla="*/ 202 w 206"/>
                  <a:gd name="T47" fmla="*/ 160 h 162"/>
                  <a:gd name="T48" fmla="*/ 203 w 206"/>
                  <a:gd name="T49" fmla="*/ 160 h 162"/>
                  <a:gd name="T50" fmla="*/ 203 w 206"/>
                  <a:gd name="T51" fmla="*/ 160 h 162"/>
                  <a:gd name="T52" fmla="*/ 203 w 206"/>
                  <a:gd name="T53" fmla="*/ 160 h 162"/>
                  <a:gd name="T54" fmla="*/ 203 w 206"/>
                  <a:gd name="T55" fmla="*/ 160 h 162"/>
                  <a:gd name="T56" fmla="*/ 204 w 206"/>
                  <a:gd name="T57" fmla="*/ 160 h 162"/>
                  <a:gd name="T58" fmla="*/ 204 w 206"/>
                  <a:gd name="T59" fmla="*/ 160 h 162"/>
                  <a:gd name="T60" fmla="*/ 204 w 206"/>
                  <a:gd name="T61" fmla="*/ 160 h 162"/>
                  <a:gd name="T62" fmla="*/ 205 w 206"/>
                  <a:gd name="T63" fmla="*/ 160 h 162"/>
                  <a:gd name="T64" fmla="*/ 205 w 206"/>
                  <a:gd name="T65" fmla="*/ 160 h 162"/>
                  <a:gd name="T66" fmla="*/ 205 w 206"/>
                  <a:gd name="T67" fmla="*/ 160 h 162"/>
                  <a:gd name="T68" fmla="*/ 206 w 206"/>
                  <a:gd name="T69" fmla="*/ 160 h 162"/>
                  <a:gd name="T70" fmla="*/ 206 w 206"/>
                  <a:gd name="T71" fmla="*/ 160 h 162"/>
                  <a:gd name="T72" fmla="*/ 206 w 206"/>
                  <a:gd name="T73" fmla="*/ 160 h 162"/>
                  <a:gd name="T74" fmla="*/ 1 w 206"/>
                  <a:gd name="T75" fmla="*/ 6 h 162"/>
                  <a:gd name="T76" fmla="*/ 177 w 206"/>
                  <a:gd name="T77" fmla="*/ 162 h 162"/>
                  <a:gd name="T78" fmla="*/ 1 w 206"/>
                  <a:gd name="T79" fmla="*/ 6 h 162"/>
                  <a:gd name="T80" fmla="*/ 1 w 206"/>
                  <a:gd name="T81" fmla="*/ 3 h 162"/>
                  <a:gd name="T82" fmla="*/ 1 w 206"/>
                  <a:gd name="T83" fmla="*/ 4 h 162"/>
                  <a:gd name="T84" fmla="*/ 1 w 206"/>
                  <a:gd name="T85" fmla="*/ 3 h 162"/>
                  <a:gd name="T86" fmla="*/ 0 w 206"/>
                  <a:gd name="T87" fmla="*/ 3 h 162"/>
                  <a:gd name="T88" fmla="*/ 0 w 206"/>
                  <a:gd name="T89" fmla="*/ 3 h 162"/>
                  <a:gd name="T90" fmla="*/ 0 w 206"/>
                  <a:gd name="T91" fmla="*/ 3 h 162"/>
                  <a:gd name="T92" fmla="*/ 0 w 206"/>
                  <a:gd name="T93" fmla="*/ 2 h 162"/>
                  <a:gd name="T94" fmla="*/ 0 w 206"/>
                  <a:gd name="T95" fmla="*/ 2 h 162"/>
                  <a:gd name="T96" fmla="*/ 0 w 206"/>
                  <a:gd name="T97" fmla="*/ 2 h 162"/>
                  <a:gd name="T98" fmla="*/ 0 w 206"/>
                  <a:gd name="T99" fmla="*/ 1 h 162"/>
                  <a:gd name="T100" fmla="*/ 0 w 206"/>
                  <a:gd name="T101" fmla="*/ 1 h 162"/>
                  <a:gd name="T102" fmla="*/ 0 w 206"/>
                  <a:gd name="T103" fmla="*/ 1 h 162"/>
                  <a:gd name="T104" fmla="*/ 0 w 206"/>
                  <a:gd name="T105" fmla="*/ 0 h 162"/>
                  <a:gd name="T106" fmla="*/ 0 w 206"/>
                  <a:gd name="T107" fmla="*/ 1 h 162"/>
                  <a:gd name="T108" fmla="*/ 0 w 206"/>
                  <a:gd name="T109" fmla="*/ 0 h 162"/>
                  <a:gd name="T110" fmla="*/ 0 w 206"/>
                  <a:gd name="T111" fmla="*/ 0 h 162"/>
                  <a:gd name="T112" fmla="*/ 0 w 206"/>
                  <a:gd name="T113" fmla="*/ 0 h 162"/>
                  <a:gd name="T114" fmla="*/ 0 w 206"/>
                  <a:gd name="T11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6" h="162">
                    <a:moveTo>
                      <a:pt x="177" y="162"/>
                    </a:moveTo>
                    <a:cubicBezTo>
                      <a:pt x="177" y="162"/>
                      <a:pt x="177" y="162"/>
                      <a:pt x="177" y="162"/>
                    </a:cubicBezTo>
                    <a:cubicBezTo>
                      <a:pt x="177" y="162"/>
                      <a:pt x="177" y="162"/>
                      <a:pt x="177" y="162"/>
                    </a:cubicBezTo>
                    <a:cubicBezTo>
                      <a:pt x="177" y="162"/>
                      <a:pt x="177" y="162"/>
                      <a:pt x="177" y="162"/>
                    </a:cubicBezTo>
                    <a:moveTo>
                      <a:pt x="198" y="161"/>
                    </a:moveTo>
                    <a:cubicBezTo>
                      <a:pt x="198" y="161"/>
                      <a:pt x="197" y="161"/>
                      <a:pt x="197" y="161"/>
                    </a:cubicBezTo>
                    <a:cubicBezTo>
                      <a:pt x="197" y="161"/>
                      <a:pt x="198" y="161"/>
                      <a:pt x="198" y="161"/>
                    </a:cubicBezTo>
                    <a:moveTo>
                      <a:pt x="199" y="161"/>
                    </a:moveTo>
                    <a:cubicBezTo>
                      <a:pt x="199" y="161"/>
                      <a:pt x="199" y="161"/>
                      <a:pt x="199" y="161"/>
                    </a:cubicBezTo>
                    <a:cubicBezTo>
                      <a:pt x="199" y="161"/>
                      <a:pt x="199" y="161"/>
                      <a:pt x="199" y="161"/>
                    </a:cubicBezTo>
                    <a:moveTo>
                      <a:pt x="200" y="161"/>
                    </a:moveTo>
                    <a:cubicBezTo>
                      <a:pt x="199" y="161"/>
                      <a:pt x="199" y="161"/>
                      <a:pt x="199" y="161"/>
                    </a:cubicBezTo>
                    <a:cubicBezTo>
                      <a:pt x="199" y="161"/>
                      <a:pt x="199" y="161"/>
                      <a:pt x="200" y="161"/>
                    </a:cubicBezTo>
                    <a:moveTo>
                      <a:pt x="200" y="161"/>
                    </a:moveTo>
                    <a:cubicBezTo>
                      <a:pt x="200" y="161"/>
                      <a:pt x="200" y="161"/>
                      <a:pt x="200" y="161"/>
                    </a:cubicBezTo>
                    <a:cubicBezTo>
                      <a:pt x="200" y="161"/>
                      <a:pt x="200" y="161"/>
                      <a:pt x="200" y="161"/>
                    </a:cubicBezTo>
                    <a:moveTo>
                      <a:pt x="201" y="161"/>
                    </a:moveTo>
                    <a:cubicBezTo>
                      <a:pt x="201" y="161"/>
                      <a:pt x="201" y="161"/>
                      <a:pt x="201" y="161"/>
                    </a:cubicBezTo>
                    <a:cubicBezTo>
                      <a:pt x="201" y="161"/>
                      <a:pt x="201" y="161"/>
                      <a:pt x="201" y="161"/>
                    </a:cubicBezTo>
                    <a:moveTo>
                      <a:pt x="202" y="161"/>
                    </a:moveTo>
                    <a:cubicBezTo>
                      <a:pt x="202" y="161"/>
                      <a:pt x="202" y="161"/>
                      <a:pt x="202" y="161"/>
                    </a:cubicBezTo>
                    <a:cubicBezTo>
                      <a:pt x="202" y="161"/>
                      <a:pt x="202" y="161"/>
                      <a:pt x="202" y="161"/>
                    </a:cubicBezTo>
                    <a:moveTo>
                      <a:pt x="203" y="160"/>
                    </a:moveTo>
                    <a:cubicBezTo>
                      <a:pt x="203" y="160"/>
                      <a:pt x="203" y="160"/>
                      <a:pt x="202" y="160"/>
                    </a:cubicBezTo>
                    <a:cubicBezTo>
                      <a:pt x="203" y="160"/>
                      <a:pt x="203" y="160"/>
                      <a:pt x="203" y="160"/>
                    </a:cubicBezTo>
                    <a:moveTo>
                      <a:pt x="203" y="160"/>
                    </a:moveTo>
                    <a:cubicBezTo>
                      <a:pt x="203" y="160"/>
                      <a:pt x="203" y="160"/>
                      <a:pt x="203" y="160"/>
                    </a:cubicBezTo>
                    <a:cubicBezTo>
                      <a:pt x="203" y="160"/>
                      <a:pt x="203" y="160"/>
                      <a:pt x="203" y="160"/>
                    </a:cubicBezTo>
                    <a:moveTo>
                      <a:pt x="204" y="160"/>
                    </a:move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4" y="160"/>
                      <a:pt x="204" y="160"/>
                    </a:cubicBezTo>
                    <a:moveTo>
                      <a:pt x="205" y="160"/>
                    </a:moveTo>
                    <a:cubicBezTo>
                      <a:pt x="205" y="160"/>
                      <a:pt x="205" y="160"/>
                      <a:pt x="205" y="160"/>
                    </a:cubicBezTo>
                    <a:cubicBezTo>
                      <a:pt x="205" y="160"/>
                      <a:pt x="205" y="160"/>
                      <a:pt x="205" y="160"/>
                    </a:cubicBezTo>
                    <a:moveTo>
                      <a:pt x="206" y="160"/>
                    </a:moveTo>
                    <a:cubicBezTo>
                      <a:pt x="206" y="160"/>
                      <a:pt x="206" y="160"/>
                      <a:pt x="206" y="160"/>
                    </a:cubicBezTo>
                    <a:cubicBezTo>
                      <a:pt x="206" y="160"/>
                      <a:pt x="206" y="160"/>
                      <a:pt x="206" y="160"/>
                    </a:cubicBezTo>
                    <a:moveTo>
                      <a:pt x="1" y="6"/>
                    </a:moveTo>
                    <a:cubicBezTo>
                      <a:pt x="12" y="96"/>
                      <a:pt x="89" y="162"/>
                      <a:pt x="177" y="162"/>
                    </a:cubicBezTo>
                    <a:cubicBezTo>
                      <a:pt x="89" y="162"/>
                      <a:pt x="12" y="96"/>
                      <a:pt x="1" y="6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4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1A9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/>
              <p:cNvSpPr/>
              <p:nvPr userDrawn="1"/>
            </p:nvSpPr>
            <p:spPr bwMode="auto">
              <a:xfrm rot="21236041">
                <a:off x="6134306" y="2599421"/>
                <a:ext cx="653592" cy="590025"/>
              </a:xfrm>
              <a:custGeom>
                <a:avLst/>
                <a:gdLst>
                  <a:gd name="connsiteX0" fmla="*/ 100493 w 531514"/>
                  <a:gd name="connsiteY0" fmla="*/ 0 h 479820"/>
                  <a:gd name="connsiteX1" fmla="*/ 91404 w 531514"/>
                  <a:gd name="connsiteY1" fmla="*/ 48807 h 479820"/>
                  <a:gd name="connsiteX2" fmla="*/ 92500 w 531514"/>
                  <a:gd name="connsiteY2" fmla="*/ 103601 h 479820"/>
                  <a:gd name="connsiteX3" fmla="*/ 391965 w 531514"/>
                  <a:gd name="connsiteY3" fmla="*/ 341570 h 479820"/>
                  <a:gd name="connsiteX4" fmla="*/ 494455 w 531514"/>
                  <a:gd name="connsiteY4" fmla="*/ 308769 h 479820"/>
                  <a:gd name="connsiteX5" fmla="*/ 531514 w 531514"/>
                  <a:gd name="connsiteY5" fmla="*/ 282992 h 479820"/>
                  <a:gd name="connsiteX6" fmla="*/ 530851 w 531514"/>
                  <a:gd name="connsiteY6" fmla="*/ 286475 h 479820"/>
                  <a:gd name="connsiteX7" fmla="*/ 301478 w 531514"/>
                  <a:gd name="connsiteY7" fmla="*/ 478096 h 479820"/>
                  <a:gd name="connsiteX8" fmla="*/ 2013 w 531514"/>
                  <a:gd name="connsiteY8" fmla="*/ 240127 h 479820"/>
                  <a:gd name="connsiteX9" fmla="*/ 94512 w 531514"/>
                  <a:gd name="connsiteY9" fmla="*/ 4168 h 479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1514" h="479820">
                    <a:moveTo>
                      <a:pt x="100493" y="0"/>
                    </a:moveTo>
                    <a:lnTo>
                      <a:pt x="91404" y="48807"/>
                    </a:lnTo>
                    <a:cubicBezTo>
                      <a:pt x="89911" y="66703"/>
                      <a:pt x="90220" y="85033"/>
                      <a:pt x="92500" y="103601"/>
                    </a:cubicBezTo>
                    <a:cubicBezTo>
                      <a:pt x="109221" y="252142"/>
                      <a:pt x="242992" y="358243"/>
                      <a:pt x="391965" y="341570"/>
                    </a:cubicBezTo>
                    <a:cubicBezTo>
                      <a:pt x="429208" y="337402"/>
                      <a:pt x="463791" y="325939"/>
                      <a:pt x="494455" y="308769"/>
                    </a:cubicBezTo>
                    <a:lnTo>
                      <a:pt x="531514" y="282992"/>
                    </a:lnTo>
                    <a:lnTo>
                      <a:pt x="530851" y="286475"/>
                    </a:lnTo>
                    <a:cubicBezTo>
                      <a:pt x="500995" y="387437"/>
                      <a:pt x="413207" y="465591"/>
                      <a:pt x="301478" y="478096"/>
                    </a:cubicBezTo>
                    <a:cubicBezTo>
                      <a:pt x="152505" y="494769"/>
                      <a:pt x="18734" y="388668"/>
                      <a:pt x="2013" y="240127"/>
                    </a:cubicBezTo>
                    <a:cubicBezTo>
                      <a:pt x="-9388" y="147289"/>
                      <a:pt x="28496" y="60371"/>
                      <a:pt x="94512" y="4168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  <a:alpha val="3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24" name="Oval 3123"/>
              <p:cNvSpPr>
                <a:spLocks noChangeArrowheads="1"/>
              </p:cNvSpPr>
              <p:nvPr userDrawn="1"/>
            </p:nvSpPr>
            <p:spPr bwMode="auto">
              <a:xfrm>
                <a:off x="7805907" y="1108145"/>
                <a:ext cx="513100" cy="514439"/>
              </a:xfrm>
              <a:prstGeom prst="ellipse">
                <a:avLst/>
              </a:pr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Freeform 3124"/>
              <p:cNvSpPr/>
              <p:nvPr userDrawn="1"/>
            </p:nvSpPr>
            <p:spPr bwMode="auto">
              <a:xfrm>
                <a:off x="8246663" y="1298380"/>
                <a:ext cx="6698" cy="4019"/>
              </a:xfrm>
              <a:custGeom>
                <a:avLst/>
                <a:gdLst>
                  <a:gd name="T0" fmla="*/ 0 w 4"/>
                  <a:gd name="T1" fmla="*/ 0 h 2"/>
                  <a:gd name="T2" fmla="*/ 3 w 4"/>
                  <a:gd name="T3" fmla="*/ 2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0"/>
                      <a:pt x="2" y="1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3" y="1"/>
                      <a:pt x="1" y="1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Freeform 3125"/>
              <p:cNvSpPr/>
              <p:nvPr userDrawn="1"/>
            </p:nvSpPr>
            <p:spPr bwMode="auto">
              <a:xfrm>
                <a:off x="7954612" y="1228716"/>
                <a:ext cx="218369" cy="89759"/>
              </a:xfrm>
              <a:custGeom>
                <a:avLst/>
                <a:gdLst>
                  <a:gd name="T0" fmla="*/ 16 w 119"/>
                  <a:gd name="T1" fmla="*/ 0 h 49"/>
                  <a:gd name="T2" fmla="*/ 10 w 119"/>
                  <a:gd name="T3" fmla="*/ 0 h 49"/>
                  <a:gd name="T4" fmla="*/ 0 w 119"/>
                  <a:gd name="T5" fmla="*/ 1 h 49"/>
                  <a:gd name="T6" fmla="*/ 119 w 119"/>
                  <a:gd name="T7" fmla="*/ 49 h 49"/>
                  <a:gd name="T8" fmla="*/ 87 w 119"/>
                  <a:gd name="T9" fmla="*/ 29 h 49"/>
                  <a:gd name="T10" fmla="*/ 19 w 119"/>
                  <a:gd name="T11" fmla="*/ 0 h 49"/>
                  <a:gd name="T12" fmla="*/ 16 w 119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9" h="49">
                    <a:moveTo>
                      <a:pt x="16" y="0"/>
                    </a:moveTo>
                    <a:cubicBezTo>
                      <a:pt x="14" y="0"/>
                      <a:pt x="12" y="0"/>
                      <a:pt x="10" y="0"/>
                    </a:cubicBezTo>
                    <a:cubicBezTo>
                      <a:pt x="6" y="0"/>
                      <a:pt x="3" y="0"/>
                      <a:pt x="0" y="1"/>
                    </a:cubicBezTo>
                    <a:cubicBezTo>
                      <a:pt x="39" y="17"/>
                      <a:pt x="79" y="33"/>
                      <a:pt x="119" y="49"/>
                    </a:cubicBezTo>
                    <a:cubicBezTo>
                      <a:pt x="108" y="43"/>
                      <a:pt x="98" y="36"/>
                      <a:pt x="87" y="29"/>
                    </a:cubicBezTo>
                    <a:cubicBezTo>
                      <a:pt x="64" y="20"/>
                      <a:pt x="41" y="10"/>
                      <a:pt x="19" y="0"/>
                    </a:cubicBezTo>
                    <a:cubicBezTo>
                      <a:pt x="18" y="0"/>
                      <a:pt x="17" y="0"/>
                      <a:pt x="16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Freeform 3126"/>
              <p:cNvSpPr>
                <a:spLocks noEditPoints="1"/>
              </p:cNvSpPr>
              <p:nvPr userDrawn="1"/>
            </p:nvSpPr>
            <p:spPr bwMode="auto">
              <a:xfrm>
                <a:off x="7890307" y="1153694"/>
                <a:ext cx="371093" cy="154064"/>
              </a:xfrm>
              <a:custGeom>
                <a:avLst/>
                <a:gdLst>
                  <a:gd name="T0" fmla="*/ 197 w 202"/>
                  <a:gd name="T1" fmla="*/ 81 h 84"/>
                  <a:gd name="T2" fmla="*/ 202 w 202"/>
                  <a:gd name="T3" fmla="*/ 84 h 84"/>
                  <a:gd name="T4" fmla="*/ 198 w 202"/>
                  <a:gd name="T5" fmla="*/ 81 h 84"/>
                  <a:gd name="T6" fmla="*/ 197 w 202"/>
                  <a:gd name="T7" fmla="*/ 81 h 84"/>
                  <a:gd name="T8" fmla="*/ 54 w 202"/>
                  <a:gd name="T9" fmla="*/ 41 h 84"/>
                  <a:gd name="T10" fmla="*/ 122 w 202"/>
                  <a:gd name="T11" fmla="*/ 70 h 84"/>
                  <a:gd name="T12" fmla="*/ 80 w 202"/>
                  <a:gd name="T13" fmla="*/ 43 h 84"/>
                  <a:gd name="T14" fmla="*/ 54 w 202"/>
                  <a:gd name="T15" fmla="*/ 41 h 84"/>
                  <a:gd name="T16" fmla="*/ 15 w 202"/>
                  <a:gd name="T17" fmla="*/ 0 h 84"/>
                  <a:gd name="T18" fmla="*/ 0 w 202"/>
                  <a:gd name="T19" fmla="*/ 12 h 84"/>
                  <a:gd name="T20" fmla="*/ 31 w 202"/>
                  <a:gd name="T21" fmla="*/ 10 h 84"/>
                  <a:gd name="T22" fmla="*/ 15 w 202"/>
                  <a:gd name="T2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2" h="84">
                    <a:moveTo>
                      <a:pt x="197" y="81"/>
                    </a:moveTo>
                    <a:cubicBezTo>
                      <a:pt x="199" y="82"/>
                      <a:pt x="201" y="83"/>
                      <a:pt x="202" y="84"/>
                    </a:cubicBezTo>
                    <a:cubicBezTo>
                      <a:pt x="201" y="83"/>
                      <a:pt x="199" y="82"/>
                      <a:pt x="198" y="81"/>
                    </a:cubicBezTo>
                    <a:cubicBezTo>
                      <a:pt x="197" y="81"/>
                      <a:pt x="197" y="81"/>
                      <a:pt x="197" y="81"/>
                    </a:cubicBezTo>
                    <a:moveTo>
                      <a:pt x="54" y="41"/>
                    </a:moveTo>
                    <a:cubicBezTo>
                      <a:pt x="76" y="51"/>
                      <a:pt x="99" y="61"/>
                      <a:pt x="122" y="70"/>
                    </a:cubicBezTo>
                    <a:cubicBezTo>
                      <a:pt x="108" y="61"/>
                      <a:pt x="94" y="52"/>
                      <a:pt x="80" y="43"/>
                    </a:cubicBezTo>
                    <a:cubicBezTo>
                      <a:pt x="71" y="42"/>
                      <a:pt x="62" y="41"/>
                      <a:pt x="54" y="41"/>
                    </a:cubicBezTo>
                    <a:moveTo>
                      <a:pt x="15" y="0"/>
                    </a:moveTo>
                    <a:cubicBezTo>
                      <a:pt x="9" y="4"/>
                      <a:pt x="4" y="8"/>
                      <a:pt x="0" y="12"/>
                    </a:cubicBezTo>
                    <a:cubicBezTo>
                      <a:pt x="10" y="11"/>
                      <a:pt x="20" y="11"/>
                      <a:pt x="31" y="10"/>
                    </a:cubicBezTo>
                    <a:cubicBezTo>
                      <a:pt x="25" y="7"/>
                      <a:pt x="20" y="3"/>
                      <a:pt x="15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Freeform 3127"/>
              <p:cNvSpPr/>
              <p:nvPr userDrawn="1"/>
            </p:nvSpPr>
            <p:spPr bwMode="auto">
              <a:xfrm>
                <a:off x="7935856" y="1122881"/>
                <a:ext cx="132629" cy="52248"/>
              </a:xfrm>
              <a:custGeom>
                <a:avLst/>
                <a:gdLst>
                  <a:gd name="T0" fmla="*/ 25 w 72"/>
                  <a:gd name="T1" fmla="*/ 0 h 29"/>
                  <a:gd name="T2" fmla="*/ 0 w 72"/>
                  <a:gd name="T3" fmla="*/ 11 h 29"/>
                  <a:gd name="T4" fmla="*/ 37 w 72"/>
                  <a:gd name="T5" fmla="*/ 27 h 29"/>
                  <a:gd name="T6" fmla="*/ 49 w 72"/>
                  <a:gd name="T7" fmla="*/ 27 h 29"/>
                  <a:gd name="T8" fmla="*/ 72 w 72"/>
                  <a:gd name="T9" fmla="*/ 29 h 29"/>
                  <a:gd name="T10" fmla="*/ 25 w 72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29">
                    <a:moveTo>
                      <a:pt x="25" y="0"/>
                    </a:moveTo>
                    <a:cubicBezTo>
                      <a:pt x="16" y="3"/>
                      <a:pt x="8" y="6"/>
                      <a:pt x="0" y="11"/>
                    </a:cubicBezTo>
                    <a:cubicBezTo>
                      <a:pt x="12" y="16"/>
                      <a:pt x="24" y="21"/>
                      <a:pt x="37" y="27"/>
                    </a:cubicBezTo>
                    <a:cubicBezTo>
                      <a:pt x="41" y="27"/>
                      <a:pt x="45" y="27"/>
                      <a:pt x="49" y="27"/>
                    </a:cubicBezTo>
                    <a:cubicBezTo>
                      <a:pt x="57" y="27"/>
                      <a:pt x="64" y="28"/>
                      <a:pt x="72" y="29"/>
                    </a:cubicBezTo>
                    <a:cubicBezTo>
                      <a:pt x="57" y="18"/>
                      <a:pt x="41" y="9"/>
                      <a:pt x="25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Freeform 3128"/>
              <p:cNvSpPr>
                <a:spLocks noEditPoints="1"/>
              </p:cNvSpPr>
              <p:nvPr userDrawn="1"/>
            </p:nvSpPr>
            <p:spPr bwMode="auto">
              <a:xfrm>
                <a:off x="7925139" y="1142976"/>
                <a:ext cx="326883" cy="159423"/>
              </a:xfrm>
              <a:custGeom>
                <a:avLst/>
                <a:gdLst>
                  <a:gd name="T0" fmla="*/ 133 w 178"/>
                  <a:gd name="T1" fmla="*/ 64 h 87"/>
                  <a:gd name="T2" fmla="*/ 178 w 178"/>
                  <a:gd name="T3" fmla="*/ 87 h 87"/>
                  <a:gd name="T4" fmla="*/ 175 w 178"/>
                  <a:gd name="T5" fmla="*/ 85 h 87"/>
                  <a:gd name="T6" fmla="*/ 133 w 178"/>
                  <a:gd name="T7" fmla="*/ 64 h 87"/>
                  <a:gd name="T8" fmla="*/ 6 w 178"/>
                  <a:gd name="T9" fmla="*/ 0 h 87"/>
                  <a:gd name="T10" fmla="*/ 0 w 178"/>
                  <a:gd name="T11" fmla="*/ 3 h 87"/>
                  <a:gd name="T12" fmla="*/ 29 w 178"/>
                  <a:gd name="T13" fmla="*/ 16 h 87"/>
                  <a:gd name="T14" fmla="*/ 36 w 178"/>
                  <a:gd name="T15" fmla="*/ 16 h 87"/>
                  <a:gd name="T16" fmla="*/ 43 w 178"/>
                  <a:gd name="T17" fmla="*/ 16 h 87"/>
                  <a:gd name="T18" fmla="*/ 6 w 178"/>
                  <a:gd name="T1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87">
                    <a:moveTo>
                      <a:pt x="133" y="64"/>
                    </a:moveTo>
                    <a:cubicBezTo>
                      <a:pt x="148" y="72"/>
                      <a:pt x="163" y="79"/>
                      <a:pt x="178" y="87"/>
                    </a:cubicBezTo>
                    <a:cubicBezTo>
                      <a:pt x="177" y="86"/>
                      <a:pt x="176" y="85"/>
                      <a:pt x="175" y="85"/>
                    </a:cubicBezTo>
                    <a:cubicBezTo>
                      <a:pt x="162" y="76"/>
                      <a:pt x="148" y="69"/>
                      <a:pt x="133" y="64"/>
                    </a:cubicBezTo>
                    <a:moveTo>
                      <a:pt x="6" y="0"/>
                    </a:moveTo>
                    <a:cubicBezTo>
                      <a:pt x="4" y="1"/>
                      <a:pt x="2" y="2"/>
                      <a:pt x="0" y="3"/>
                    </a:cubicBezTo>
                    <a:cubicBezTo>
                      <a:pt x="10" y="7"/>
                      <a:pt x="20" y="11"/>
                      <a:pt x="29" y="16"/>
                    </a:cubicBezTo>
                    <a:cubicBezTo>
                      <a:pt x="32" y="16"/>
                      <a:pt x="34" y="16"/>
                      <a:pt x="36" y="16"/>
                    </a:cubicBezTo>
                    <a:cubicBezTo>
                      <a:pt x="38" y="16"/>
                      <a:pt x="41" y="16"/>
                      <a:pt x="43" y="16"/>
                    </a:cubicBezTo>
                    <a:cubicBezTo>
                      <a:pt x="30" y="10"/>
                      <a:pt x="18" y="5"/>
                      <a:pt x="6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Freeform 3129"/>
              <p:cNvSpPr/>
              <p:nvPr userDrawn="1"/>
            </p:nvSpPr>
            <p:spPr bwMode="auto">
              <a:xfrm>
                <a:off x="8172981" y="1318475"/>
                <a:ext cx="146026" cy="64305"/>
              </a:xfrm>
              <a:custGeom>
                <a:avLst/>
                <a:gdLst>
                  <a:gd name="T0" fmla="*/ 0 w 80"/>
                  <a:gd name="T1" fmla="*/ 0 h 35"/>
                  <a:gd name="T2" fmla="*/ 21 w 80"/>
                  <a:gd name="T3" fmla="*/ 12 h 35"/>
                  <a:gd name="T4" fmla="*/ 47 w 80"/>
                  <a:gd name="T5" fmla="*/ 21 h 35"/>
                  <a:gd name="T6" fmla="*/ 80 w 80"/>
                  <a:gd name="T7" fmla="*/ 35 h 35"/>
                  <a:gd name="T8" fmla="*/ 80 w 80"/>
                  <a:gd name="T9" fmla="*/ 31 h 35"/>
                  <a:gd name="T10" fmla="*/ 0 w 80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5">
                    <a:moveTo>
                      <a:pt x="0" y="0"/>
                    </a:moveTo>
                    <a:cubicBezTo>
                      <a:pt x="7" y="4"/>
                      <a:pt x="14" y="8"/>
                      <a:pt x="21" y="12"/>
                    </a:cubicBezTo>
                    <a:cubicBezTo>
                      <a:pt x="29" y="15"/>
                      <a:pt x="38" y="18"/>
                      <a:pt x="47" y="21"/>
                    </a:cubicBezTo>
                    <a:cubicBezTo>
                      <a:pt x="56" y="24"/>
                      <a:pt x="69" y="29"/>
                      <a:pt x="80" y="35"/>
                    </a:cubicBezTo>
                    <a:cubicBezTo>
                      <a:pt x="80" y="34"/>
                      <a:pt x="80" y="33"/>
                      <a:pt x="80" y="31"/>
                    </a:cubicBezTo>
                    <a:cubicBezTo>
                      <a:pt x="53" y="21"/>
                      <a:pt x="27" y="11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Freeform 3130"/>
              <p:cNvSpPr/>
              <p:nvPr userDrawn="1"/>
            </p:nvSpPr>
            <p:spPr bwMode="auto">
              <a:xfrm>
                <a:off x="8114034" y="1282304"/>
                <a:ext cx="204972" cy="92438"/>
              </a:xfrm>
              <a:custGeom>
                <a:avLst/>
                <a:gdLst>
                  <a:gd name="T0" fmla="*/ 0 w 112"/>
                  <a:gd name="T1" fmla="*/ 0 h 51"/>
                  <a:gd name="T2" fmla="*/ 32 w 112"/>
                  <a:gd name="T3" fmla="*/ 20 h 51"/>
                  <a:gd name="T4" fmla="*/ 112 w 112"/>
                  <a:gd name="T5" fmla="*/ 51 h 51"/>
                  <a:gd name="T6" fmla="*/ 112 w 112"/>
                  <a:gd name="T7" fmla="*/ 48 h 51"/>
                  <a:gd name="T8" fmla="*/ 110 w 112"/>
                  <a:gd name="T9" fmla="*/ 45 h 51"/>
                  <a:gd name="T10" fmla="*/ 0 w 112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" h="51">
                    <a:moveTo>
                      <a:pt x="0" y="0"/>
                    </a:moveTo>
                    <a:cubicBezTo>
                      <a:pt x="11" y="7"/>
                      <a:pt x="21" y="14"/>
                      <a:pt x="32" y="20"/>
                    </a:cubicBezTo>
                    <a:cubicBezTo>
                      <a:pt x="59" y="31"/>
                      <a:pt x="85" y="41"/>
                      <a:pt x="112" y="51"/>
                    </a:cubicBezTo>
                    <a:cubicBezTo>
                      <a:pt x="112" y="50"/>
                      <a:pt x="112" y="49"/>
                      <a:pt x="112" y="48"/>
                    </a:cubicBezTo>
                    <a:cubicBezTo>
                      <a:pt x="112" y="47"/>
                      <a:pt x="111" y="46"/>
                      <a:pt x="110" y="45"/>
                    </a:cubicBezTo>
                    <a:cubicBezTo>
                      <a:pt x="74" y="29"/>
                      <a:pt x="37" y="15"/>
                      <a:pt x="0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Freeform 3131"/>
              <p:cNvSpPr>
                <a:spLocks noEditPoints="1"/>
              </p:cNvSpPr>
              <p:nvPr userDrawn="1"/>
            </p:nvSpPr>
            <p:spPr bwMode="auto">
              <a:xfrm>
                <a:off x="7918440" y="1148335"/>
                <a:ext cx="397887" cy="215689"/>
              </a:xfrm>
              <a:custGeom>
                <a:avLst/>
                <a:gdLst>
                  <a:gd name="T0" fmla="*/ 65 w 217"/>
                  <a:gd name="T1" fmla="*/ 46 h 118"/>
                  <a:gd name="T2" fmla="*/ 107 w 217"/>
                  <a:gd name="T3" fmla="*/ 73 h 118"/>
                  <a:gd name="T4" fmla="*/ 217 w 217"/>
                  <a:gd name="T5" fmla="*/ 118 h 118"/>
                  <a:gd name="T6" fmla="*/ 187 w 217"/>
                  <a:gd name="T7" fmla="*/ 87 h 118"/>
                  <a:gd name="T8" fmla="*/ 182 w 217"/>
                  <a:gd name="T9" fmla="*/ 84 h 118"/>
                  <a:gd name="T10" fmla="*/ 137 w 217"/>
                  <a:gd name="T11" fmla="*/ 61 h 118"/>
                  <a:gd name="T12" fmla="*/ 65 w 217"/>
                  <a:gd name="T13" fmla="*/ 46 h 118"/>
                  <a:gd name="T14" fmla="*/ 4 w 217"/>
                  <a:gd name="T15" fmla="*/ 0 h 118"/>
                  <a:gd name="T16" fmla="*/ 0 w 217"/>
                  <a:gd name="T17" fmla="*/ 3 h 118"/>
                  <a:gd name="T18" fmla="*/ 16 w 217"/>
                  <a:gd name="T19" fmla="*/ 13 h 118"/>
                  <a:gd name="T20" fmla="*/ 33 w 217"/>
                  <a:gd name="T21" fmla="*/ 13 h 118"/>
                  <a:gd name="T22" fmla="*/ 4 w 217"/>
                  <a:gd name="T2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7" h="118">
                    <a:moveTo>
                      <a:pt x="65" y="46"/>
                    </a:moveTo>
                    <a:cubicBezTo>
                      <a:pt x="79" y="55"/>
                      <a:pt x="93" y="64"/>
                      <a:pt x="107" y="73"/>
                    </a:cubicBezTo>
                    <a:cubicBezTo>
                      <a:pt x="144" y="88"/>
                      <a:pt x="181" y="102"/>
                      <a:pt x="217" y="118"/>
                    </a:cubicBezTo>
                    <a:cubicBezTo>
                      <a:pt x="209" y="106"/>
                      <a:pt x="199" y="96"/>
                      <a:pt x="187" y="87"/>
                    </a:cubicBezTo>
                    <a:cubicBezTo>
                      <a:pt x="186" y="86"/>
                      <a:pt x="184" y="85"/>
                      <a:pt x="182" y="84"/>
                    </a:cubicBezTo>
                    <a:cubicBezTo>
                      <a:pt x="167" y="76"/>
                      <a:pt x="152" y="69"/>
                      <a:pt x="137" y="61"/>
                    </a:cubicBezTo>
                    <a:cubicBezTo>
                      <a:pt x="113" y="53"/>
                      <a:pt x="88" y="48"/>
                      <a:pt x="65" y="46"/>
                    </a:cubicBezTo>
                    <a:moveTo>
                      <a:pt x="4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6"/>
                      <a:pt x="10" y="10"/>
                      <a:pt x="16" y="13"/>
                    </a:cubicBezTo>
                    <a:cubicBezTo>
                      <a:pt x="22" y="13"/>
                      <a:pt x="27" y="13"/>
                      <a:pt x="33" y="13"/>
                    </a:cubicBezTo>
                    <a:cubicBezTo>
                      <a:pt x="24" y="8"/>
                      <a:pt x="14" y="4"/>
                      <a:pt x="4" y="0"/>
                    </a:cubicBezTo>
                  </a:path>
                </a:pathLst>
              </a:custGeom>
              <a:solidFill>
                <a:srgbClr val="C5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Freeform 3132"/>
              <p:cNvSpPr/>
              <p:nvPr userDrawn="1"/>
            </p:nvSpPr>
            <p:spPr bwMode="auto">
              <a:xfrm>
                <a:off x="8068485" y="1175129"/>
                <a:ext cx="247842" cy="143346"/>
              </a:xfrm>
              <a:custGeom>
                <a:avLst/>
                <a:gdLst>
                  <a:gd name="T0" fmla="*/ 0 w 135"/>
                  <a:gd name="T1" fmla="*/ 0 h 78"/>
                  <a:gd name="T2" fmla="*/ 59 w 135"/>
                  <a:gd name="T3" fmla="*/ 40 h 78"/>
                  <a:gd name="T4" fmla="*/ 135 w 135"/>
                  <a:gd name="T5" fmla="*/ 78 h 78"/>
                  <a:gd name="T6" fmla="*/ 130 w 135"/>
                  <a:gd name="T7" fmla="*/ 58 h 78"/>
                  <a:gd name="T8" fmla="*/ 0 w 135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78">
                    <a:moveTo>
                      <a:pt x="0" y="0"/>
                    </a:moveTo>
                    <a:cubicBezTo>
                      <a:pt x="20" y="13"/>
                      <a:pt x="40" y="26"/>
                      <a:pt x="59" y="40"/>
                    </a:cubicBezTo>
                    <a:cubicBezTo>
                      <a:pt x="85" y="52"/>
                      <a:pt x="110" y="65"/>
                      <a:pt x="135" y="78"/>
                    </a:cubicBezTo>
                    <a:cubicBezTo>
                      <a:pt x="134" y="71"/>
                      <a:pt x="132" y="65"/>
                      <a:pt x="130" y="58"/>
                    </a:cubicBezTo>
                    <a:cubicBezTo>
                      <a:pt x="98" y="23"/>
                      <a:pt x="49" y="5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Freeform 3133"/>
              <p:cNvSpPr/>
              <p:nvPr userDrawn="1"/>
            </p:nvSpPr>
            <p:spPr bwMode="auto">
              <a:xfrm>
                <a:off x="7828681" y="1195224"/>
                <a:ext cx="125930" cy="64305"/>
              </a:xfrm>
              <a:custGeom>
                <a:avLst/>
                <a:gdLst>
                  <a:gd name="T0" fmla="*/ 23 w 69"/>
                  <a:gd name="T1" fmla="*/ 0 h 35"/>
                  <a:gd name="T2" fmla="*/ 0 w 69"/>
                  <a:gd name="T3" fmla="*/ 35 h 35"/>
                  <a:gd name="T4" fmla="*/ 69 w 69"/>
                  <a:gd name="T5" fmla="*/ 19 h 35"/>
                  <a:gd name="T6" fmla="*/ 23 w 69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35">
                    <a:moveTo>
                      <a:pt x="23" y="0"/>
                    </a:moveTo>
                    <a:cubicBezTo>
                      <a:pt x="14" y="10"/>
                      <a:pt x="6" y="22"/>
                      <a:pt x="0" y="35"/>
                    </a:cubicBezTo>
                    <a:cubicBezTo>
                      <a:pt x="22" y="27"/>
                      <a:pt x="44" y="21"/>
                      <a:pt x="69" y="19"/>
                    </a:cubicBezTo>
                    <a:cubicBezTo>
                      <a:pt x="54" y="12"/>
                      <a:pt x="38" y="6"/>
                      <a:pt x="23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Freeform 3134"/>
              <p:cNvSpPr/>
              <p:nvPr userDrawn="1"/>
            </p:nvSpPr>
            <p:spPr bwMode="auto">
              <a:xfrm>
                <a:off x="8177000" y="1248812"/>
                <a:ext cx="140667" cy="85740"/>
              </a:xfrm>
              <a:custGeom>
                <a:avLst/>
                <a:gdLst>
                  <a:gd name="T0" fmla="*/ 0 w 77"/>
                  <a:gd name="T1" fmla="*/ 0 h 47"/>
                  <a:gd name="T2" fmla="*/ 38 w 77"/>
                  <a:gd name="T3" fmla="*/ 27 h 47"/>
                  <a:gd name="T4" fmla="*/ 42 w 77"/>
                  <a:gd name="T5" fmla="*/ 29 h 47"/>
                  <a:gd name="T6" fmla="*/ 77 w 77"/>
                  <a:gd name="T7" fmla="*/ 47 h 47"/>
                  <a:gd name="T8" fmla="*/ 76 w 77"/>
                  <a:gd name="T9" fmla="*/ 38 h 47"/>
                  <a:gd name="T10" fmla="*/ 0 w 77"/>
                  <a:gd name="T11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47">
                    <a:moveTo>
                      <a:pt x="0" y="0"/>
                    </a:moveTo>
                    <a:cubicBezTo>
                      <a:pt x="13" y="9"/>
                      <a:pt x="26" y="18"/>
                      <a:pt x="38" y="27"/>
                    </a:cubicBezTo>
                    <a:cubicBezTo>
                      <a:pt x="39" y="28"/>
                      <a:pt x="41" y="28"/>
                      <a:pt x="42" y="29"/>
                    </a:cubicBezTo>
                    <a:cubicBezTo>
                      <a:pt x="53" y="35"/>
                      <a:pt x="65" y="41"/>
                      <a:pt x="77" y="47"/>
                    </a:cubicBezTo>
                    <a:cubicBezTo>
                      <a:pt x="77" y="44"/>
                      <a:pt x="76" y="41"/>
                      <a:pt x="76" y="38"/>
                    </a:cubicBezTo>
                    <a:cubicBezTo>
                      <a:pt x="51" y="25"/>
                      <a:pt x="26" y="12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Freeform 3135"/>
              <p:cNvSpPr/>
              <p:nvPr userDrawn="1"/>
            </p:nvSpPr>
            <p:spPr bwMode="auto">
              <a:xfrm>
                <a:off x="7870211" y="1179148"/>
                <a:ext cx="119232" cy="50908"/>
              </a:xfrm>
              <a:custGeom>
                <a:avLst/>
                <a:gdLst>
                  <a:gd name="T0" fmla="*/ 9 w 65"/>
                  <a:gd name="T1" fmla="*/ 0 h 28"/>
                  <a:gd name="T2" fmla="*/ 0 w 65"/>
                  <a:gd name="T3" fmla="*/ 9 h 28"/>
                  <a:gd name="T4" fmla="*/ 46 w 65"/>
                  <a:gd name="T5" fmla="*/ 28 h 28"/>
                  <a:gd name="T6" fmla="*/ 56 w 65"/>
                  <a:gd name="T7" fmla="*/ 27 h 28"/>
                  <a:gd name="T8" fmla="*/ 62 w 65"/>
                  <a:gd name="T9" fmla="*/ 27 h 28"/>
                  <a:gd name="T10" fmla="*/ 65 w 65"/>
                  <a:gd name="T11" fmla="*/ 27 h 28"/>
                  <a:gd name="T12" fmla="*/ 9 w 65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28">
                    <a:moveTo>
                      <a:pt x="9" y="0"/>
                    </a:moveTo>
                    <a:cubicBezTo>
                      <a:pt x="6" y="3"/>
                      <a:pt x="3" y="6"/>
                      <a:pt x="0" y="9"/>
                    </a:cubicBezTo>
                    <a:cubicBezTo>
                      <a:pt x="15" y="15"/>
                      <a:pt x="31" y="21"/>
                      <a:pt x="46" y="28"/>
                    </a:cubicBezTo>
                    <a:cubicBezTo>
                      <a:pt x="49" y="27"/>
                      <a:pt x="52" y="27"/>
                      <a:pt x="56" y="27"/>
                    </a:cubicBezTo>
                    <a:cubicBezTo>
                      <a:pt x="58" y="27"/>
                      <a:pt x="60" y="27"/>
                      <a:pt x="62" y="27"/>
                    </a:cubicBezTo>
                    <a:cubicBezTo>
                      <a:pt x="63" y="27"/>
                      <a:pt x="64" y="27"/>
                      <a:pt x="65" y="27"/>
                    </a:cubicBezTo>
                    <a:cubicBezTo>
                      <a:pt x="46" y="19"/>
                      <a:pt x="27" y="10"/>
                      <a:pt x="9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Freeform 3136"/>
              <p:cNvSpPr/>
              <p:nvPr userDrawn="1"/>
            </p:nvSpPr>
            <p:spPr bwMode="auto">
              <a:xfrm>
                <a:off x="7886288" y="1171110"/>
                <a:ext cx="151385" cy="61626"/>
              </a:xfrm>
              <a:custGeom>
                <a:avLst/>
                <a:gdLst>
                  <a:gd name="T0" fmla="*/ 33 w 82"/>
                  <a:gd name="T1" fmla="*/ 0 h 33"/>
                  <a:gd name="T2" fmla="*/ 2 w 82"/>
                  <a:gd name="T3" fmla="*/ 2 h 33"/>
                  <a:gd name="T4" fmla="*/ 0 w 82"/>
                  <a:gd name="T5" fmla="*/ 4 h 33"/>
                  <a:gd name="T6" fmla="*/ 56 w 82"/>
                  <a:gd name="T7" fmla="*/ 31 h 33"/>
                  <a:gd name="T8" fmla="*/ 82 w 82"/>
                  <a:gd name="T9" fmla="*/ 33 h 33"/>
                  <a:gd name="T10" fmla="*/ 33 w 82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33">
                    <a:moveTo>
                      <a:pt x="33" y="0"/>
                    </a:moveTo>
                    <a:cubicBezTo>
                      <a:pt x="22" y="1"/>
                      <a:pt x="12" y="1"/>
                      <a:pt x="2" y="2"/>
                    </a:cubicBezTo>
                    <a:cubicBezTo>
                      <a:pt x="1" y="3"/>
                      <a:pt x="0" y="3"/>
                      <a:pt x="0" y="4"/>
                    </a:cubicBezTo>
                    <a:cubicBezTo>
                      <a:pt x="18" y="14"/>
                      <a:pt x="37" y="23"/>
                      <a:pt x="56" y="31"/>
                    </a:cubicBezTo>
                    <a:cubicBezTo>
                      <a:pt x="64" y="31"/>
                      <a:pt x="73" y="32"/>
                      <a:pt x="82" y="33"/>
                    </a:cubicBezTo>
                    <a:cubicBezTo>
                      <a:pt x="66" y="22"/>
                      <a:pt x="49" y="11"/>
                      <a:pt x="33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Freeform 3137"/>
              <p:cNvSpPr/>
              <p:nvPr userDrawn="1"/>
            </p:nvSpPr>
            <p:spPr bwMode="auto">
              <a:xfrm>
                <a:off x="8253362" y="1302399"/>
                <a:ext cx="65645" cy="45549"/>
              </a:xfrm>
              <a:custGeom>
                <a:avLst/>
                <a:gdLst>
                  <a:gd name="T0" fmla="*/ 0 w 36"/>
                  <a:gd name="T1" fmla="*/ 0 h 25"/>
                  <a:gd name="T2" fmla="*/ 4 w 36"/>
                  <a:gd name="T3" fmla="*/ 3 h 25"/>
                  <a:gd name="T4" fmla="*/ 36 w 36"/>
                  <a:gd name="T5" fmla="*/ 25 h 25"/>
                  <a:gd name="T6" fmla="*/ 35 w 36"/>
                  <a:gd name="T7" fmla="*/ 18 h 25"/>
                  <a:gd name="T8" fmla="*/ 0 w 36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0" y="0"/>
                    </a:moveTo>
                    <a:cubicBezTo>
                      <a:pt x="1" y="1"/>
                      <a:pt x="3" y="2"/>
                      <a:pt x="4" y="3"/>
                    </a:cubicBezTo>
                    <a:cubicBezTo>
                      <a:pt x="15" y="11"/>
                      <a:pt x="25" y="18"/>
                      <a:pt x="36" y="25"/>
                    </a:cubicBezTo>
                    <a:cubicBezTo>
                      <a:pt x="36" y="22"/>
                      <a:pt x="35" y="20"/>
                      <a:pt x="35" y="18"/>
                    </a:cubicBezTo>
                    <a:cubicBezTo>
                      <a:pt x="23" y="12"/>
                      <a:pt x="11" y="6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Freeform 3138"/>
              <p:cNvSpPr/>
              <p:nvPr userDrawn="1"/>
            </p:nvSpPr>
            <p:spPr bwMode="auto">
              <a:xfrm>
                <a:off x="8004180" y="1171110"/>
                <a:ext cx="172819" cy="77702"/>
              </a:xfrm>
              <a:custGeom>
                <a:avLst/>
                <a:gdLst>
                  <a:gd name="T0" fmla="*/ 0 w 94"/>
                  <a:gd name="T1" fmla="*/ 0 h 42"/>
                  <a:gd name="T2" fmla="*/ 94 w 94"/>
                  <a:gd name="T3" fmla="*/ 42 h 42"/>
                  <a:gd name="T4" fmla="*/ 35 w 94"/>
                  <a:gd name="T5" fmla="*/ 2 h 42"/>
                  <a:gd name="T6" fmla="*/ 12 w 94"/>
                  <a:gd name="T7" fmla="*/ 0 h 42"/>
                  <a:gd name="T8" fmla="*/ 0 w 9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42">
                    <a:moveTo>
                      <a:pt x="0" y="0"/>
                    </a:moveTo>
                    <a:cubicBezTo>
                      <a:pt x="31" y="13"/>
                      <a:pt x="63" y="27"/>
                      <a:pt x="94" y="42"/>
                    </a:cubicBezTo>
                    <a:cubicBezTo>
                      <a:pt x="75" y="28"/>
                      <a:pt x="55" y="15"/>
                      <a:pt x="35" y="2"/>
                    </a:cubicBezTo>
                    <a:cubicBezTo>
                      <a:pt x="27" y="1"/>
                      <a:pt x="20" y="0"/>
                      <a:pt x="12" y="0"/>
                    </a:cubicBezTo>
                    <a:cubicBezTo>
                      <a:pt x="8" y="0"/>
                      <a:pt x="4" y="0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Freeform 3139"/>
              <p:cNvSpPr/>
              <p:nvPr userDrawn="1"/>
            </p:nvSpPr>
            <p:spPr bwMode="auto">
              <a:xfrm>
                <a:off x="7978726" y="1171110"/>
                <a:ext cx="267937" cy="127270"/>
              </a:xfrm>
              <a:custGeom>
                <a:avLst/>
                <a:gdLst>
                  <a:gd name="T0" fmla="*/ 7 w 146"/>
                  <a:gd name="T1" fmla="*/ 0 h 69"/>
                  <a:gd name="T2" fmla="*/ 0 w 146"/>
                  <a:gd name="T3" fmla="*/ 0 h 69"/>
                  <a:gd name="T4" fmla="*/ 104 w 146"/>
                  <a:gd name="T5" fmla="*/ 48 h 69"/>
                  <a:gd name="T6" fmla="*/ 146 w 146"/>
                  <a:gd name="T7" fmla="*/ 69 h 69"/>
                  <a:gd name="T8" fmla="*/ 108 w 146"/>
                  <a:gd name="T9" fmla="*/ 42 h 69"/>
                  <a:gd name="T10" fmla="*/ 14 w 146"/>
                  <a:gd name="T11" fmla="*/ 0 h 69"/>
                  <a:gd name="T12" fmla="*/ 7 w 146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69">
                    <a:moveTo>
                      <a:pt x="7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35" y="15"/>
                      <a:pt x="70" y="31"/>
                      <a:pt x="104" y="48"/>
                    </a:cubicBezTo>
                    <a:cubicBezTo>
                      <a:pt x="119" y="53"/>
                      <a:pt x="133" y="60"/>
                      <a:pt x="146" y="69"/>
                    </a:cubicBezTo>
                    <a:cubicBezTo>
                      <a:pt x="134" y="60"/>
                      <a:pt x="121" y="51"/>
                      <a:pt x="108" y="42"/>
                    </a:cubicBezTo>
                    <a:cubicBezTo>
                      <a:pt x="77" y="27"/>
                      <a:pt x="45" y="13"/>
                      <a:pt x="14" y="0"/>
                    </a:cubicBezTo>
                    <a:cubicBezTo>
                      <a:pt x="12" y="0"/>
                      <a:pt x="9" y="0"/>
                      <a:pt x="7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Freeform 3140"/>
              <p:cNvSpPr/>
              <p:nvPr userDrawn="1"/>
            </p:nvSpPr>
            <p:spPr bwMode="auto">
              <a:xfrm>
                <a:off x="8316327" y="1364025"/>
                <a:ext cx="2679" cy="5359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1"/>
                      <a:pt x="2" y="2"/>
                      <a:pt x="2" y="3"/>
                    </a:cubicBezTo>
                    <a:cubicBezTo>
                      <a:pt x="2" y="2"/>
                      <a:pt x="2" y="2"/>
                      <a:pt x="2" y="1"/>
                    </a:cubicBezTo>
                    <a:cubicBezTo>
                      <a:pt x="2" y="1"/>
                      <a:pt x="1" y="0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Freeform 3141"/>
              <p:cNvSpPr/>
              <p:nvPr userDrawn="1"/>
            </p:nvSpPr>
            <p:spPr bwMode="auto">
              <a:xfrm>
                <a:off x="7947913" y="1171110"/>
                <a:ext cx="221048" cy="88419"/>
              </a:xfrm>
              <a:custGeom>
                <a:avLst/>
                <a:gdLst>
                  <a:gd name="T0" fmla="*/ 17 w 121"/>
                  <a:gd name="T1" fmla="*/ 0 h 48"/>
                  <a:gd name="T2" fmla="*/ 0 w 121"/>
                  <a:gd name="T3" fmla="*/ 0 h 48"/>
                  <a:gd name="T4" fmla="*/ 49 w 121"/>
                  <a:gd name="T5" fmla="*/ 33 h 48"/>
                  <a:gd name="T6" fmla="*/ 121 w 121"/>
                  <a:gd name="T7" fmla="*/ 48 h 48"/>
                  <a:gd name="T8" fmla="*/ 17 w 121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48">
                    <a:moveTo>
                      <a:pt x="17" y="0"/>
                    </a:moveTo>
                    <a:cubicBezTo>
                      <a:pt x="11" y="0"/>
                      <a:pt x="6" y="0"/>
                      <a:pt x="0" y="0"/>
                    </a:cubicBezTo>
                    <a:cubicBezTo>
                      <a:pt x="16" y="11"/>
                      <a:pt x="33" y="22"/>
                      <a:pt x="49" y="33"/>
                    </a:cubicBezTo>
                    <a:cubicBezTo>
                      <a:pt x="72" y="35"/>
                      <a:pt x="97" y="40"/>
                      <a:pt x="121" y="48"/>
                    </a:cubicBezTo>
                    <a:cubicBezTo>
                      <a:pt x="87" y="31"/>
                      <a:pt x="52" y="15"/>
                      <a:pt x="17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Freeform 3142"/>
              <p:cNvSpPr/>
              <p:nvPr userDrawn="1"/>
            </p:nvSpPr>
            <p:spPr bwMode="auto">
              <a:xfrm>
                <a:off x="8261400" y="1307758"/>
                <a:ext cx="57606" cy="57606"/>
              </a:xfrm>
              <a:custGeom>
                <a:avLst/>
                <a:gdLst>
                  <a:gd name="T0" fmla="*/ 0 w 32"/>
                  <a:gd name="T1" fmla="*/ 0 h 32"/>
                  <a:gd name="T2" fmla="*/ 30 w 32"/>
                  <a:gd name="T3" fmla="*/ 31 h 32"/>
                  <a:gd name="T4" fmla="*/ 32 w 32"/>
                  <a:gd name="T5" fmla="*/ 32 h 32"/>
                  <a:gd name="T6" fmla="*/ 32 w 32"/>
                  <a:gd name="T7" fmla="*/ 32 h 32"/>
                  <a:gd name="T8" fmla="*/ 32 w 32"/>
                  <a:gd name="T9" fmla="*/ 22 h 32"/>
                  <a:gd name="T10" fmla="*/ 0 w 32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cubicBezTo>
                      <a:pt x="12" y="9"/>
                      <a:pt x="22" y="19"/>
                      <a:pt x="30" y="31"/>
                    </a:cubicBezTo>
                    <a:cubicBezTo>
                      <a:pt x="31" y="31"/>
                      <a:pt x="32" y="32"/>
                      <a:pt x="32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28"/>
                      <a:pt x="32" y="25"/>
                      <a:pt x="32" y="22"/>
                    </a:cubicBezTo>
                    <a:cubicBezTo>
                      <a:pt x="21" y="15"/>
                      <a:pt x="11" y="8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Freeform 3143"/>
              <p:cNvSpPr/>
              <p:nvPr userDrawn="1"/>
            </p:nvSpPr>
            <p:spPr bwMode="auto">
              <a:xfrm>
                <a:off x="7808586" y="1268907"/>
                <a:ext cx="509081" cy="164781"/>
              </a:xfrm>
              <a:custGeom>
                <a:avLst/>
                <a:gdLst>
                  <a:gd name="T0" fmla="*/ 9 w 278"/>
                  <a:gd name="T1" fmla="*/ 0 h 90"/>
                  <a:gd name="T2" fmla="*/ 0 w 278"/>
                  <a:gd name="T3" fmla="*/ 36 h 90"/>
                  <a:gd name="T4" fmla="*/ 139 w 278"/>
                  <a:gd name="T5" fmla="*/ 55 h 90"/>
                  <a:gd name="T6" fmla="*/ 248 w 278"/>
                  <a:gd name="T7" fmla="*/ 80 h 90"/>
                  <a:gd name="T8" fmla="*/ 274 w 278"/>
                  <a:gd name="T9" fmla="*/ 90 h 90"/>
                  <a:gd name="T10" fmla="*/ 278 w 278"/>
                  <a:gd name="T11" fmla="*/ 68 h 90"/>
                  <a:gd name="T12" fmla="*/ 220 w 278"/>
                  <a:gd name="T13" fmla="*/ 39 h 90"/>
                  <a:gd name="T14" fmla="*/ 144 w 278"/>
                  <a:gd name="T15" fmla="*/ 19 h 90"/>
                  <a:gd name="T16" fmla="*/ 9 w 278"/>
                  <a:gd name="T1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90">
                    <a:moveTo>
                      <a:pt x="9" y="0"/>
                    </a:moveTo>
                    <a:cubicBezTo>
                      <a:pt x="5" y="11"/>
                      <a:pt x="1" y="24"/>
                      <a:pt x="0" y="36"/>
                    </a:cubicBezTo>
                    <a:cubicBezTo>
                      <a:pt x="46" y="42"/>
                      <a:pt x="93" y="46"/>
                      <a:pt x="139" y="55"/>
                    </a:cubicBezTo>
                    <a:cubicBezTo>
                      <a:pt x="175" y="62"/>
                      <a:pt x="215" y="66"/>
                      <a:pt x="248" y="80"/>
                    </a:cubicBezTo>
                    <a:cubicBezTo>
                      <a:pt x="255" y="83"/>
                      <a:pt x="265" y="87"/>
                      <a:pt x="274" y="90"/>
                    </a:cubicBezTo>
                    <a:cubicBezTo>
                      <a:pt x="276" y="83"/>
                      <a:pt x="278" y="76"/>
                      <a:pt x="278" y="68"/>
                    </a:cubicBezTo>
                    <a:cubicBezTo>
                      <a:pt x="258" y="60"/>
                      <a:pt x="239" y="50"/>
                      <a:pt x="220" y="39"/>
                    </a:cubicBezTo>
                    <a:cubicBezTo>
                      <a:pt x="195" y="31"/>
                      <a:pt x="170" y="25"/>
                      <a:pt x="144" y="19"/>
                    </a:cubicBezTo>
                    <a:cubicBezTo>
                      <a:pt x="100" y="10"/>
                      <a:pt x="55" y="3"/>
                      <a:pt x="9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Freeform 3144"/>
              <p:cNvSpPr/>
              <p:nvPr userDrawn="1"/>
            </p:nvSpPr>
            <p:spPr bwMode="auto">
              <a:xfrm>
                <a:off x="8211831" y="1339910"/>
                <a:ext cx="107175" cy="53587"/>
              </a:xfrm>
              <a:custGeom>
                <a:avLst/>
                <a:gdLst>
                  <a:gd name="T0" fmla="*/ 0 w 59"/>
                  <a:gd name="T1" fmla="*/ 0 h 29"/>
                  <a:gd name="T2" fmla="*/ 58 w 59"/>
                  <a:gd name="T3" fmla="*/ 29 h 29"/>
                  <a:gd name="T4" fmla="*/ 59 w 59"/>
                  <a:gd name="T5" fmla="*/ 23 h 29"/>
                  <a:gd name="T6" fmla="*/ 26 w 59"/>
                  <a:gd name="T7" fmla="*/ 9 h 29"/>
                  <a:gd name="T8" fmla="*/ 0 w 5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29">
                    <a:moveTo>
                      <a:pt x="0" y="0"/>
                    </a:moveTo>
                    <a:cubicBezTo>
                      <a:pt x="19" y="11"/>
                      <a:pt x="38" y="21"/>
                      <a:pt x="58" y="29"/>
                    </a:cubicBezTo>
                    <a:cubicBezTo>
                      <a:pt x="59" y="27"/>
                      <a:pt x="59" y="25"/>
                      <a:pt x="59" y="23"/>
                    </a:cubicBezTo>
                    <a:cubicBezTo>
                      <a:pt x="48" y="17"/>
                      <a:pt x="35" y="12"/>
                      <a:pt x="26" y="9"/>
                    </a:cubicBezTo>
                    <a:cubicBezTo>
                      <a:pt x="17" y="6"/>
                      <a:pt x="8" y="3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Freeform 3145"/>
              <p:cNvSpPr/>
              <p:nvPr userDrawn="1"/>
            </p:nvSpPr>
            <p:spPr bwMode="auto">
              <a:xfrm>
                <a:off x="7805907" y="1347948"/>
                <a:ext cx="491665" cy="182197"/>
              </a:xfrm>
              <a:custGeom>
                <a:avLst/>
                <a:gdLst>
                  <a:gd name="T0" fmla="*/ 0 w 268"/>
                  <a:gd name="T1" fmla="*/ 0 h 100"/>
                  <a:gd name="T2" fmla="*/ 0 w 268"/>
                  <a:gd name="T3" fmla="*/ 10 h 100"/>
                  <a:gd name="T4" fmla="*/ 5 w 268"/>
                  <a:gd name="T5" fmla="*/ 48 h 100"/>
                  <a:gd name="T6" fmla="*/ 116 w 268"/>
                  <a:gd name="T7" fmla="*/ 92 h 100"/>
                  <a:gd name="T8" fmla="*/ 191 w 268"/>
                  <a:gd name="T9" fmla="*/ 100 h 100"/>
                  <a:gd name="T10" fmla="*/ 257 w 268"/>
                  <a:gd name="T11" fmla="*/ 88 h 100"/>
                  <a:gd name="T12" fmla="*/ 268 w 268"/>
                  <a:gd name="T13" fmla="*/ 67 h 100"/>
                  <a:gd name="T14" fmla="*/ 212 w 268"/>
                  <a:gd name="T15" fmla="*/ 77 h 100"/>
                  <a:gd name="T16" fmla="*/ 101 w 268"/>
                  <a:gd name="T17" fmla="*/ 55 h 100"/>
                  <a:gd name="T18" fmla="*/ 0 w 268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8" h="100">
                    <a:moveTo>
                      <a:pt x="0" y="0"/>
                    </a:moveTo>
                    <a:cubicBezTo>
                      <a:pt x="0" y="3"/>
                      <a:pt x="0" y="6"/>
                      <a:pt x="0" y="10"/>
                    </a:cubicBezTo>
                    <a:cubicBezTo>
                      <a:pt x="0" y="23"/>
                      <a:pt x="2" y="36"/>
                      <a:pt x="5" y="48"/>
                    </a:cubicBezTo>
                    <a:cubicBezTo>
                      <a:pt x="40" y="69"/>
                      <a:pt x="78" y="85"/>
                      <a:pt x="116" y="92"/>
                    </a:cubicBezTo>
                    <a:cubicBezTo>
                      <a:pt x="135" y="96"/>
                      <a:pt x="163" y="100"/>
                      <a:pt x="191" y="100"/>
                    </a:cubicBezTo>
                    <a:cubicBezTo>
                      <a:pt x="215" y="100"/>
                      <a:pt x="238" y="97"/>
                      <a:pt x="257" y="88"/>
                    </a:cubicBezTo>
                    <a:cubicBezTo>
                      <a:pt x="261" y="81"/>
                      <a:pt x="265" y="75"/>
                      <a:pt x="268" y="67"/>
                    </a:cubicBezTo>
                    <a:cubicBezTo>
                      <a:pt x="251" y="74"/>
                      <a:pt x="232" y="77"/>
                      <a:pt x="212" y="77"/>
                    </a:cubicBezTo>
                    <a:cubicBezTo>
                      <a:pt x="173" y="77"/>
                      <a:pt x="131" y="66"/>
                      <a:pt x="101" y="55"/>
                    </a:cubicBezTo>
                    <a:cubicBezTo>
                      <a:pt x="64" y="40"/>
                      <a:pt x="32" y="21"/>
                      <a:pt x="0" y="0"/>
                    </a:cubicBezTo>
                  </a:path>
                </a:pathLst>
              </a:custGeom>
              <a:solidFill>
                <a:srgbClr val="BBB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Freeform 3146"/>
              <p:cNvSpPr/>
              <p:nvPr userDrawn="1"/>
            </p:nvSpPr>
            <p:spPr bwMode="auto">
              <a:xfrm>
                <a:off x="7805907" y="1148335"/>
                <a:ext cx="412623" cy="474249"/>
              </a:xfrm>
              <a:custGeom>
                <a:avLst/>
                <a:gdLst>
                  <a:gd name="T0" fmla="*/ 65 w 225"/>
                  <a:gd name="T1" fmla="*/ 0 h 259"/>
                  <a:gd name="T2" fmla="*/ 40 w 225"/>
                  <a:gd name="T3" fmla="*/ 82 h 259"/>
                  <a:gd name="T4" fmla="*/ 192 w 225"/>
                  <a:gd name="T5" fmla="*/ 234 h 259"/>
                  <a:gd name="T6" fmla="*/ 225 w 225"/>
                  <a:gd name="T7" fmla="*/ 230 h 259"/>
                  <a:gd name="T8" fmla="*/ 140 w 225"/>
                  <a:gd name="T9" fmla="*/ 259 h 259"/>
                  <a:gd name="T10" fmla="*/ 0 w 225"/>
                  <a:gd name="T11" fmla="*/ 119 h 259"/>
                  <a:gd name="T12" fmla="*/ 65 w 225"/>
                  <a:gd name="T1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5" h="259">
                    <a:moveTo>
                      <a:pt x="65" y="0"/>
                    </a:moveTo>
                    <a:cubicBezTo>
                      <a:pt x="50" y="24"/>
                      <a:pt x="40" y="52"/>
                      <a:pt x="40" y="82"/>
                    </a:cubicBezTo>
                    <a:cubicBezTo>
                      <a:pt x="40" y="165"/>
                      <a:pt x="109" y="234"/>
                      <a:pt x="192" y="234"/>
                    </a:cubicBezTo>
                    <a:cubicBezTo>
                      <a:pt x="203" y="234"/>
                      <a:pt x="214" y="233"/>
                      <a:pt x="225" y="230"/>
                    </a:cubicBezTo>
                    <a:cubicBezTo>
                      <a:pt x="201" y="248"/>
                      <a:pt x="172" y="259"/>
                      <a:pt x="140" y="259"/>
                    </a:cubicBezTo>
                    <a:cubicBezTo>
                      <a:pt x="63" y="259"/>
                      <a:pt x="0" y="196"/>
                      <a:pt x="0" y="119"/>
                    </a:cubicBezTo>
                    <a:cubicBezTo>
                      <a:pt x="0" y="69"/>
                      <a:pt x="26" y="25"/>
                      <a:pt x="65" y="0"/>
                    </a:cubicBezTo>
                    <a:close/>
                  </a:path>
                </a:pathLst>
              </a:custGeom>
              <a:solidFill>
                <a:srgbClr val="9495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Freeform 3150"/>
              <p:cNvSpPr>
                <a:spLocks noEditPoints="1"/>
              </p:cNvSpPr>
              <p:nvPr userDrawn="1"/>
            </p:nvSpPr>
            <p:spPr bwMode="auto">
              <a:xfrm>
                <a:off x="5829870" y="2442472"/>
                <a:ext cx="372433" cy="302769"/>
              </a:xfrm>
              <a:custGeom>
                <a:avLst/>
                <a:gdLst>
                  <a:gd name="T0" fmla="*/ 177 w 203"/>
                  <a:gd name="T1" fmla="*/ 165 h 165"/>
                  <a:gd name="T2" fmla="*/ 177 w 203"/>
                  <a:gd name="T3" fmla="*/ 165 h 165"/>
                  <a:gd name="T4" fmla="*/ 177 w 203"/>
                  <a:gd name="T5" fmla="*/ 165 h 165"/>
                  <a:gd name="T6" fmla="*/ 177 w 203"/>
                  <a:gd name="T7" fmla="*/ 165 h 165"/>
                  <a:gd name="T8" fmla="*/ 198 w 203"/>
                  <a:gd name="T9" fmla="*/ 164 h 165"/>
                  <a:gd name="T10" fmla="*/ 197 w 203"/>
                  <a:gd name="T11" fmla="*/ 164 h 165"/>
                  <a:gd name="T12" fmla="*/ 198 w 203"/>
                  <a:gd name="T13" fmla="*/ 164 h 165"/>
                  <a:gd name="T14" fmla="*/ 199 w 203"/>
                  <a:gd name="T15" fmla="*/ 164 h 165"/>
                  <a:gd name="T16" fmla="*/ 199 w 203"/>
                  <a:gd name="T17" fmla="*/ 164 h 165"/>
                  <a:gd name="T18" fmla="*/ 199 w 203"/>
                  <a:gd name="T19" fmla="*/ 164 h 165"/>
                  <a:gd name="T20" fmla="*/ 199 w 203"/>
                  <a:gd name="T21" fmla="*/ 164 h 165"/>
                  <a:gd name="T22" fmla="*/ 199 w 203"/>
                  <a:gd name="T23" fmla="*/ 164 h 165"/>
                  <a:gd name="T24" fmla="*/ 199 w 203"/>
                  <a:gd name="T25" fmla="*/ 164 h 165"/>
                  <a:gd name="T26" fmla="*/ 200 w 203"/>
                  <a:gd name="T27" fmla="*/ 164 h 165"/>
                  <a:gd name="T28" fmla="*/ 200 w 203"/>
                  <a:gd name="T29" fmla="*/ 164 h 165"/>
                  <a:gd name="T30" fmla="*/ 200 w 203"/>
                  <a:gd name="T31" fmla="*/ 164 h 165"/>
                  <a:gd name="T32" fmla="*/ 201 w 203"/>
                  <a:gd name="T33" fmla="*/ 164 h 165"/>
                  <a:gd name="T34" fmla="*/ 201 w 203"/>
                  <a:gd name="T35" fmla="*/ 164 h 165"/>
                  <a:gd name="T36" fmla="*/ 201 w 203"/>
                  <a:gd name="T37" fmla="*/ 164 h 165"/>
                  <a:gd name="T38" fmla="*/ 202 w 203"/>
                  <a:gd name="T39" fmla="*/ 164 h 165"/>
                  <a:gd name="T40" fmla="*/ 202 w 203"/>
                  <a:gd name="T41" fmla="*/ 164 h 165"/>
                  <a:gd name="T42" fmla="*/ 202 w 203"/>
                  <a:gd name="T43" fmla="*/ 164 h 165"/>
                  <a:gd name="T44" fmla="*/ 203 w 203"/>
                  <a:gd name="T45" fmla="*/ 163 h 165"/>
                  <a:gd name="T46" fmla="*/ 203 w 203"/>
                  <a:gd name="T47" fmla="*/ 163 h 165"/>
                  <a:gd name="T48" fmla="*/ 203 w 203"/>
                  <a:gd name="T49" fmla="*/ 163 h 165"/>
                  <a:gd name="T50" fmla="*/ 1 w 203"/>
                  <a:gd name="T51" fmla="*/ 10 h 165"/>
                  <a:gd name="T52" fmla="*/ 177 w 203"/>
                  <a:gd name="T53" fmla="*/ 165 h 165"/>
                  <a:gd name="T54" fmla="*/ 1 w 203"/>
                  <a:gd name="T55" fmla="*/ 10 h 165"/>
                  <a:gd name="T56" fmla="*/ 1 w 203"/>
                  <a:gd name="T57" fmla="*/ 9 h 165"/>
                  <a:gd name="T58" fmla="*/ 1 w 203"/>
                  <a:gd name="T59" fmla="*/ 10 h 165"/>
                  <a:gd name="T60" fmla="*/ 1 w 203"/>
                  <a:gd name="T61" fmla="*/ 9 h 165"/>
                  <a:gd name="T62" fmla="*/ 1 w 203"/>
                  <a:gd name="T63" fmla="*/ 6 h 165"/>
                  <a:gd name="T64" fmla="*/ 1 w 203"/>
                  <a:gd name="T65" fmla="*/ 7 h 165"/>
                  <a:gd name="T66" fmla="*/ 1 w 203"/>
                  <a:gd name="T67" fmla="*/ 6 h 165"/>
                  <a:gd name="T68" fmla="*/ 0 w 203"/>
                  <a:gd name="T69" fmla="*/ 6 h 165"/>
                  <a:gd name="T70" fmla="*/ 0 w 203"/>
                  <a:gd name="T71" fmla="*/ 6 h 165"/>
                  <a:gd name="T72" fmla="*/ 0 w 203"/>
                  <a:gd name="T73" fmla="*/ 6 h 165"/>
                  <a:gd name="T74" fmla="*/ 0 w 203"/>
                  <a:gd name="T75" fmla="*/ 5 h 165"/>
                  <a:gd name="T76" fmla="*/ 0 w 203"/>
                  <a:gd name="T77" fmla="*/ 5 h 165"/>
                  <a:gd name="T78" fmla="*/ 0 w 203"/>
                  <a:gd name="T79" fmla="*/ 5 h 165"/>
                  <a:gd name="T80" fmla="*/ 0 w 203"/>
                  <a:gd name="T81" fmla="*/ 4 h 165"/>
                  <a:gd name="T82" fmla="*/ 0 w 203"/>
                  <a:gd name="T83" fmla="*/ 5 h 165"/>
                  <a:gd name="T84" fmla="*/ 0 w 203"/>
                  <a:gd name="T85" fmla="*/ 4 h 165"/>
                  <a:gd name="T86" fmla="*/ 0 w 203"/>
                  <a:gd name="T87" fmla="*/ 3 h 165"/>
                  <a:gd name="T88" fmla="*/ 0 w 203"/>
                  <a:gd name="T89" fmla="*/ 4 h 165"/>
                  <a:gd name="T90" fmla="*/ 0 w 203"/>
                  <a:gd name="T91" fmla="*/ 3 h 165"/>
                  <a:gd name="T92" fmla="*/ 0 w 203"/>
                  <a:gd name="T93" fmla="*/ 3 h 165"/>
                  <a:gd name="T94" fmla="*/ 0 w 203"/>
                  <a:gd name="T95" fmla="*/ 3 h 165"/>
                  <a:gd name="T96" fmla="*/ 0 w 203"/>
                  <a:gd name="T97" fmla="*/ 3 h 165"/>
                  <a:gd name="T98" fmla="*/ 0 w 203"/>
                  <a:gd name="T99" fmla="*/ 2 h 165"/>
                  <a:gd name="T100" fmla="*/ 0 w 203"/>
                  <a:gd name="T101" fmla="*/ 2 h 165"/>
                  <a:gd name="T102" fmla="*/ 0 w 203"/>
                  <a:gd name="T103" fmla="*/ 2 h 165"/>
                  <a:gd name="T104" fmla="*/ 0 w 203"/>
                  <a:gd name="T105" fmla="*/ 1 h 165"/>
                  <a:gd name="T106" fmla="*/ 0 w 203"/>
                  <a:gd name="T107" fmla="*/ 1 h 165"/>
                  <a:gd name="T108" fmla="*/ 0 w 203"/>
                  <a:gd name="T109" fmla="*/ 1 h 165"/>
                  <a:gd name="T110" fmla="*/ 0 w 203"/>
                  <a:gd name="T111" fmla="*/ 1 h 165"/>
                  <a:gd name="T112" fmla="*/ 0 w 203"/>
                  <a:gd name="T113" fmla="*/ 1 h 165"/>
                  <a:gd name="T114" fmla="*/ 0 w 203"/>
                  <a:gd name="T115" fmla="*/ 1 h 165"/>
                  <a:gd name="T116" fmla="*/ 0 w 203"/>
                  <a:gd name="T117" fmla="*/ 0 h 165"/>
                  <a:gd name="T118" fmla="*/ 0 w 203"/>
                  <a:gd name="T119" fmla="*/ 0 h 165"/>
                  <a:gd name="T120" fmla="*/ 0 w 203"/>
                  <a:gd name="T12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3" h="165">
                    <a:moveTo>
                      <a:pt x="177" y="165"/>
                    </a:move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77" y="165"/>
                      <a:pt x="177" y="165"/>
                      <a:pt x="177" y="165"/>
                    </a:cubicBezTo>
                    <a:moveTo>
                      <a:pt x="198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7" y="164"/>
                      <a:pt x="198" y="164"/>
                      <a:pt x="198" y="164"/>
                    </a:cubicBezTo>
                    <a:moveTo>
                      <a:pt x="199" y="164"/>
                    </a:moveTo>
                    <a:cubicBezTo>
                      <a:pt x="199" y="164"/>
                      <a:pt x="199" y="164"/>
                      <a:pt x="199" y="164"/>
                    </a:cubicBezTo>
                    <a:cubicBezTo>
                      <a:pt x="199" y="164"/>
                      <a:pt x="199" y="164"/>
                      <a:pt x="199" y="164"/>
                    </a:cubicBezTo>
                    <a:moveTo>
                      <a:pt x="199" y="164"/>
                    </a:moveTo>
                    <a:cubicBezTo>
                      <a:pt x="199" y="164"/>
                      <a:pt x="199" y="164"/>
                      <a:pt x="199" y="164"/>
                    </a:cubicBezTo>
                    <a:cubicBezTo>
                      <a:pt x="199" y="164"/>
                      <a:pt x="199" y="164"/>
                      <a:pt x="199" y="164"/>
                    </a:cubicBezTo>
                    <a:moveTo>
                      <a:pt x="200" y="164"/>
                    </a:moveTo>
                    <a:cubicBezTo>
                      <a:pt x="200" y="164"/>
                      <a:pt x="200" y="164"/>
                      <a:pt x="200" y="164"/>
                    </a:cubicBezTo>
                    <a:cubicBezTo>
                      <a:pt x="200" y="164"/>
                      <a:pt x="200" y="164"/>
                      <a:pt x="200" y="164"/>
                    </a:cubicBezTo>
                    <a:moveTo>
                      <a:pt x="201" y="164"/>
                    </a:moveTo>
                    <a:cubicBezTo>
                      <a:pt x="201" y="164"/>
                      <a:pt x="201" y="164"/>
                      <a:pt x="201" y="164"/>
                    </a:cubicBezTo>
                    <a:cubicBezTo>
                      <a:pt x="201" y="164"/>
                      <a:pt x="201" y="164"/>
                      <a:pt x="201" y="164"/>
                    </a:cubicBezTo>
                    <a:moveTo>
                      <a:pt x="202" y="164"/>
                    </a:move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02" y="164"/>
                      <a:pt x="202" y="164"/>
                      <a:pt x="202" y="164"/>
                    </a:cubicBezTo>
                    <a:moveTo>
                      <a:pt x="203" y="163"/>
                    </a:moveTo>
                    <a:cubicBezTo>
                      <a:pt x="203" y="163"/>
                      <a:pt x="203" y="163"/>
                      <a:pt x="203" y="163"/>
                    </a:cubicBezTo>
                    <a:cubicBezTo>
                      <a:pt x="203" y="163"/>
                      <a:pt x="203" y="163"/>
                      <a:pt x="203" y="163"/>
                    </a:cubicBezTo>
                    <a:moveTo>
                      <a:pt x="1" y="10"/>
                    </a:moveTo>
                    <a:cubicBezTo>
                      <a:pt x="13" y="100"/>
                      <a:pt x="89" y="165"/>
                      <a:pt x="177" y="165"/>
                    </a:cubicBezTo>
                    <a:cubicBezTo>
                      <a:pt x="89" y="165"/>
                      <a:pt x="13" y="100"/>
                      <a:pt x="1" y="10"/>
                    </a:cubicBezTo>
                    <a:moveTo>
                      <a:pt x="1" y="9"/>
                    </a:moveTo>
                    <a:cubicBezTo>
                      <a:pt x="1" y="9"/>
                      <a:pt x="1" y="10"/>
                      <a:pt x="1" y="10"/>
                    </a:cubicBezTo>
                    <a:cubicBezTo>
                      <a:pt x="1" y="10"/>
                      <a:pt x="1" y="9"/>
                      <a:pt x="1" y="9"/>
                    </a:cubicBezTo>
                    <a:moveTo>
                      <a:pt x="1" y="6"/>
                    </a:moveTo>
                    <a:cubicBezTo>
                      <a:pt x="1" y="6"/>
                      <a:pt x="1" y="6"/>
                      <a:pt x="1" y="7"/>
                    </a:cubicBezTo>
                    <a:cubicBezTo>
                      <a:pt x="1" y="6"/>
                      <a:pt x="1" y="6"/>
                      <a:pt x="1" y="6"/>
                    </a:cubicBezTo>
                    <a:moveTo>
                      <a:pt x="0" y="6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3"/>
                    </a:move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1A9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Freeform 3182"/>
              <p:cNvSpPr/>
              <p:nvPr userDrawn="1"/>
            </p:nvSpPr>
            <p:spPr bwMode="auto">
              <a:xfrm>
                <a:off x="5185481" y="439641"/>
                <a:ext cx="995387" cy="995387"/>
              </a:xfrm>
              <a:custGeom>
                <a:avLst/>
                <a:gdLst>
                  <a:gd name="T0" fmla="*/ 23 w 543"/>
                  <a:gd name="T1" fmla="*/ 315 h 544"/>
                  <a:gd name="T2" fmla="*/ 315 w 543"/>
                  <a:gd name="T3" fmla="*/ 520 h 544"/>
                  <a:gd name="T4" fmla="*/ 519 w 543"/>
                  <a:gd name="T5" fmla="*/ 228 h 544"/>
                  <a:gd name="T6" fmla="*/ 228 w 543"/>
                  <a:gd name="T7" fmla="*/ 23 h 544"/>
                  <a:gd name="T8" fmla="*/ 23 w 543"/>
                  <a:gd name="T9" fmla="*/ 315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544">
                    <a:moveTo>
                      <a:pt x="23" y="315"/>
                    </a:moveTo>
                    <a:cubicBezTo>
                      <a:pt x="47" y="452"/>
                      <a:pt x="178" y="544"/>
                      <a:pt x="315" y="520"/>
                    </a:cubicBezTo>
                    <a:cubicBezTo>
                      <a:pt x="452" y="496"/>
                      <a:pt x="543" y="365"/>
                      <a:pt x="519" y="228"/>
                    </a:cubicBezTo>
                    <a:cubicBezTo>
                      <a:pt x="496" y="91"/>
                      <a:pt x="365" y="0"/>
                      <a:pt x="228" y="23"/>
                    </a:cubicBezTo>
                    <a:cubicBezTo>
                      <a:pt x="91" y="47"/>
                      <a:pt x="0" y="178"/>
                      <a:pt x="23" y="315"/>
                    </a:cubicBezTo>
                  </a:path>
                </a:pathLst>
              </a:custGeom>
              <a:solidFill>
                <a:srgbClr val="E7EB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Freeform 3183"/>
              <p:cNvSpPr>
                <a:spLocks noEditPoints="1"/>
              </p:cNvSpPr>
              <p:nvPr userDrawn="1"/>
            </p:nvSpPr>
            <p:spPr bwMode="auto">
              <a:xfrm>
                <a:off x="5231030" y="724994"/>
                <a:ext cx="912326" cy="278655"/>
              </a:xfrm>
              <a:custGeom>
                <a:avLst/>
                <a:gdLst>
                  <a:gd name="T0" fmla="*/ 6 w 498"/>
                  <a:gd name="T1" fmla="*/ 40 h 152"/>
                  <a:gd name="T2" fmla="*/ 0 w 498"/>
                  <a:gd name="T3" fmla="*/ 65 h 152"/>
                  <a:gd name="T4" fmla="*/ 0 w 498"/>
                  <a:gd name="T5" fmla="*/ 65 h 152"/>
                  <a:gd name="T6" fmla="*/ 6 w 498"/>
                  <a:gd name="T7" fmla="*/ 40 h 152"/>
                  <a:gd name="T8" fmla="*/ 6 w 498"/>
                  <a:gd name="T9" fmla="*/ 40 h 152"/>
                  <a:gd name="T10" fmla="*/ 142 w 498"/>
                  <a:gd name="T11" fmla="*/ 54 h 152"/>
                  <a:gd name="T12" fmla="*/ 125 w 498"/>
                  <a:gd name="T13" fmla="*/ 46 h 152"/>
                  <a:gd name="T14" fmla="*/ 126 w 498"/>
                  <a:gd name="T15" fmla="*/ 42 h 152"/>
                  <a:gd name="T16" fmla="*/ 127 w 498"/>
                  <a:gd name="T17" fmla="*/ 43 h 152"/>
                  <a:gd name="T18" fmla="*/ 142 w 498"/>
                  <a:gd name="T19" fmla="*/ 50 h 152"/>
                  <a:gd name="T20" fmla="*/ 143 w 498"/>
                  <a:gd name="T21" fmla="*/ 50 h 152"/>
                  <a:gd name="T22" fmla="*/ 143 w 498"/>
                  <a:gd name="T23" fmla="*/ 50 h 152"/>
                  <a:gd name="T24" fmla="*/ 143 w 498"/>
                  <a:gd name="T25" fmla="*/ 54 h 152"/>
                  <a:gd name="T26" fmla="*/ 142 w 498"/>
                  <a:gd name="T27" fmla="*/ 54 h 152"/>
                  <a:gd name="T28" fmla="*/ 23 w 498"/>
                  <a:gd name="T29" fmla="*/ 0 h 152"/>
                  <a:gd name="T30" fmla="*/ 13 w 498"/>
                  <a:gd name="T31" fmla="*/ 22 h 152"/>
                  <a:gd name="T32" fmla="*/ 144 w 498"/>
                  <a:gd name="T33" fmla="*/ 63 h 152"/>
                  <a:gd name="T34" fmla="*/ 39 w 498"/>
                  <a:gd name="T35" fmla="*/ 48 h 152"/>
                  <a:gd name="T36" fmla="*/ 10 w 498"/>
                  <a:gd name="T37" fmla="*/ 41 h 152"/>
                  <a:gd name="T38" fmla="*/ 12 w 498"/>
                  <a:gd name="T39" fmla="*/ 55 h 152"/>
                  <a:gd name="T40" fmla="*/ 13 w 498"/>
                  <a:gd name="T41" fmla="*/ 59 h 152"/>
                  <a:gd name="T42" fmla="*/ 15 w 498"/>
                  <a:gd name="T43" fmla="*/ 69 h 152"/>
                  <a:gd name="T44" fmla="*/ 150 w 498"/>
                  <a:gd name="T45" fmla="*/ 88 h 152"/>
                  <a:gd name="T46" fmla="*/ 289 w 498"/>
                  <a:gd name="T47" fmla="*/ 103 h 152"/>
                  <a:gd name="T48" fmla="*/ 386 w 498"/>
                  <a:gd name="T49" fmla="*/ 122 h 152"/>
                  <a:gd name="T50" fmla="*/ 496 w 498"/>
                  <a:gd name="T51" fmla="*/ 152 h 152"/>
                  <a:gd name="T52" fmla="*/ 498 w 498"/>
                  <a:gd name="T53" fmla="*/ 126 h 152"/>
                  <a:gd name="T54" fmla="*/ 196 w 498"/>
                  <a:gd name="T55" fmla="*/ 56 h 152"/>
                  <a:gd name="T56" fmla="*/ 73 w 498"/>
                  <a:gd name="T57" fmla="*/ 14 h 152"/>
                  <a:gd name="T58" fmla="*/ 49 w 498"/>
                  <a:gd name="T59" fmla="*/ 7 h 152"/>
                  <a:gd name="T60" fmla="*/ 23 w 498"/>
                  <a:gd name="T61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98" h="152">
                    <a:moveTo>
                      <a:pt x="6" y="40"/>
                    </a:moveTo>
                    <a:cubicBezTo>
                      <a:pt x="4" y="48"/>
                      <a:pt x="2" y="57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2" y="57"/>
                      <a:pt x="4" y="48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moveTo>
                      <a:pt x="142" y="54"/>
                    </a:moveTo>
                    <a:cubicBezTo>
                      <a:pt x="135" y="54"/>
                      <a:pt x="130" y="49"/>
                      <a:pt x="125" y="46"/>
                    </a:cubicBezTo>
                    <a:cubicBezTo>
                      <a:pt x="123" y="45"/>
                      <a:pt x="124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31" y="46"/>
                      <a:pt x="136" y="50"/>
                      <a:pt x="142" y="50"/>
                    </a:cubicBezTo>
                    <a:cubicBezTo>
                      <a:pt x="142" y="50"/>
                      <a:pt x="143" y="50"/>
                      <a:pt x="143" y="50"/>
                    </a:cubicBezTo>
                    <a:cubicBezTo>
                      <a:pt x="143" y="50"/>
                      <a:pt x="143" y="50"/>
                      <a:pt x="143" y="50"/>
                    </a:cubicBezTo>
                    <a:cubicBezTo>
                      <a:pt x="145" y="50"/>
                      <a:pt x="146" y="54"/>
                      <a:pt x="143" y="54"/>
                    </a:cubicBezTo>
                    <a:cubicBezTo>
                      <a:pt x="143" y="54"/>
                      <a:pt x="142" y="54"/>
                      <a:pt x="142" y="54"/>
                    </a:cubicBezTo>
                    <a:moveTo>
                      <a:pt x="23" y="0"/>
                    </a:moveTo>
                    <a:cubicBezTo>
                      <a:pt x="19" y="7"/>
                      <a:pt x="16" y="14"/>
                      <a:pt x="13" y="22"/>
                    </a:cubicBezTo>
                    <a:cubicBezTo>
                      <a:pt x="57" y="32"/>
                      <a:pt x="100" y="48"/>
                      <a:pt x="144" y="63"/>
                    </a:cubicBezTo>
                    <a:cubicBezTo>
                      <a:pt x="109" y="60"/>
                      <a:pt x="74" y="55"/>
                      <a:pt x="39" y="48"/>
                    </a:cubicBezTo>
                    <a:cubicBezTo>
                      <a:pt x="30" y="46"/>
                      <a:pt x="20" y="43"/>
                      <a:pt x="10" y="41"/>
                    </a:cubicBezTo>
                    <a:cubicBezTo>
                      <a:pt x="11" y="45"/>
                      <a:pt x="11" y="50"/>
                      <a:pt x="12" y="55"/>
                    </a:cubicBezTo>
                    <a:cubicBezTo>
                      <a:pt x="12" y="56"/>
                      <a:pt x="13" y="58"/>
                      <a:pt x="13" y="59"/>
                    </a:cubicBezTo>
                    <a:cubicBezTo>
                      <a:pt x="14" y="62"/>
                      <a:pt x="14" y="66"/>
                      <a:pt x="15" y="69"/>
                    </a:cubicBezTo>
                    <a:cubicBezTo>
                      <a:pt x="60" y="80"/>
                      <a:pt x="109" y="84"/>
                      <a:pt x="150" y="88"/>
                    </a:cubicBezTo>
                    <a:cubicBezTo>
                      <a:pt x="196" y="92"/>
                      <a:pt x="243" y="96"/>
                      <a:pt x="289" y="103"/>
                    </a:cubicBezTo>
                    <a:cubicBezTo>
                      <a:pt x="322" y="110"/>
                      <a:pt x="354" y="115"/>
                      <a:pt x="386" y="122"/>
                    </a:cubicBezTo>
                    <a:cubicBezTo>
                      <a:pt x="423" y="131"/>
                      <a:pt x="459" y="141"/>
                      <a:pt x="496" y="152"/>
                    </a:cubicBezTo>
                    <a:cubicBezTo>
                      <a:pt x="497" y="144"/>
                      <a:pt x="498" y="135"/>
                      <a:pt x="498" y="126"/>
                    </a:cubicBezTo>
                    <a:cubicBezTo>
                      <a:pt x="403" y="86"/>
                      <a:pt x="294" y="86"/>
                      <a:pt x="196" y="56"/>
                    </a:cubicBezTo>
                    <a:cubicBezTo>
                      <a:pt x="156" y="43"/>
                      <a:pt x="115" y="28"/>
                      <a:pt x="73" y="14"/>
                    </a:cubicBezTo>
                    <a:cubicBezTo>
                      <a:pt x="65" y="12"/>
                      <a:pt x="57" y="9"/>
                      <a:pt x="49" y="7"/>
                    </a:cubicBezTo>
                    <a:cubicBezTo>
                      <a:pt x="40" y="4"/>
                      <a:pt x="32" y="2"/>
                      <a:pt x="23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Freeform 3184"/>
              <p:cNvSpPr/>
              <p:nvPr userDrawn="1"/>
            </p:nvSpPr>
            <p:spPr bwMode="auto">
              <a:xfrm>
                <a:off x="5456097" y="801356"/>
                <a:ext cx="42870" cy="22775"/>
              </a:xfrm>
              <a:custGeom>
                <a:avLst/>
                <a:gdLst>
                  <a:gd name="T0" fmla="*/ 3 w 23"/>
                  <a:gd name="T1" fmla="*/ 0 h 12"/>
                  <a:gd name="T2" fmla="*/ 2 w 23"/>
                  <a:gd name="T3" fmla="*/ 4 h 12"/>
                  <a:gd name="T4" fmla="*/ 19 w 23"/>
                  <a:gd name="T5" fmla="*/ 12 h 12"/>
                  <a:gd name="T6" fmla="*/ 20 w 23"/>
                  <a:gd name="T7" fmla="*/ 12 h 12"/>
                  <a:gd name="T8" fmla="*/ 20 w 23"/>
                  <a:gd name="T9" fmla="*/ 8 h 12"/>
                  <a:gd name="T10" fmla="*/ 20 w 23"/>
                  <a:gd name="T11" fmla="*/ 8 h 12"/>
                  <a:gd name="T12" fmla="*/ 19 w 23"/>
                  <a:gd name="T13" fmla="*/ 8 h 12"/>
                  <a:gd name="T14" fmla="*/ 4 w 23"/>
                  <a:gd name="T15" fmla="*/ 1 h 12"/>
                  <a:gd name="T16" fmla="*/ 3 w 23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12">
                    <a:moveTo>
                      <a:pt x="3" y="0"/>
                    </a:moveTo>
                    <a:cubicBezTo>
                      <a:pt x="1" y="0"/>
                      <a:pt x="0" y="3"/>
                      <a:pt x="2" y="4"/>
                    </a:cubicBezTo>
                    <a:cubicBezTo>
                      <a:pt x="7" y="7"/>
                      <a:pt x="12" y="12"/>
                      <a:pt x="19" y="12"/>
                    </a:cubicBezTo>
                    <a:cubicBezTo>
                      <a:pt x="19" y="12"/>
                      <a:pt x="20" y="12"/>
                      <a:pt x="20" y="12"/>
                    </a:cubicBezTo>
                    <a:cubicBezTo>
                      <a:pt x="23" y="12"/>
                      <a:pt x="22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19" y="8"/>
                      <a:pt x="19" y="8"/>
                    </a:cubicBezTo>
                    <a:cubicBezTo>
                      <a:pt x="13" y="8"/>
                      <a:pt x="8" y="4"/>
                      <a:pt x="4" y="1"/>
                    </a:cubicBezTo>
                    <a:cubicBezTo>
                      <a:pt x="4" y="1"/>
                      <a:pt x="3" y="0"/>
                      <a:pt x="3" y="0"/>
                    </a:cubicBezTo>
                  </a:path>
                </a:pathLst>
              </a:custGeom>
              <a:solidFill>
                <a:srgbClr val="DDA1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Freeform 3185"/>
              <p:cNvSpPr/>
              <p:nvPr userDrawn="1"/>
            </p:nvSpPr>
            <p:spPr bwMode="auto">
              <a:xfrm>
                <a:off x="5370357" y="532080"/>
                <a:ext cx="756923" cy="278655"/>
              </a:xfrm>
              <a:custGeom>
                <a:avLst/>
                <a:gdLst>
                  <a:gd name="T0" fmla="*/ 49 w 413"/>
                  <a:gd name="T1" fmla="*/ 0 h 152"/>
                  <a:gd name="T2" fmla="*/ 23 w 413"/>
                  <a:gd name="T3" fmla="*/ 16 h 152"/>
                  <a:gd name="T4" fmla="*/ 210 w 413"/>
                  <a:gd name="T5" fmla="*/ 77 h 152"/>
                  <a:gd name="T6" fmla="*/ 289 w 413"/>
                  <a:gd name="T7" fmla="*/ 108 h 152"/>
                  <a:gd name="T8" fmla="*/ 197 w 413"/>
                  <a:gd name="T9" fmla="*/ 86 h 152"/>
                  <a:gd name="T10" fmla="*/ 15 w 413"/>
                  <a:gd name="T11" fmla="*/ 22 h 152"/>
                  <a:gd name="T12" fmla="*/ 0 w 413"/>
                  <a:gd name="T13" fmla="*/ 35 h 152"/>
                  <a:gd name="T14" fmla="*/ 185 w 413"/>
                  <a:gd name="T15" fmla="*/ 100 h 152"/>
                  <a:gd name="T16" fmla="*/ 413 w 413"/>
                  <a:gd name="T17" fmla="*/ 152 h 152"/>
                  <a:gd name="T18" fmla="*/ 402 w 413"/>
                  <a:gd name="T19" fmla="*/ 121 h 152"/>
                  <a:gd name="T20" fmla="*/ 323 w 413"/>
                  <a:gd name="T21" fmla="*/ 98 h 152"/>
                  <a:gd name="T22" fmla="*/ 203 w 413"/>
                  <a:gd name="T23" fmla="*/ 53 h 152"/>
                  <a:gd name="T24" fmla="*/ 49 w 413"/>
                  <a:gd name="T25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3" h="152">
                    <a:moveTo>
                      <a:pt x="49" y="0"/>
                    </a:moveTo>
                    <a:cubicBezTo>
                      <a:pt x="40" y="5"/>
                      <a:pt x="32" y="10"/>
                      <a:pt x="23" y="16"/>
                    </a:cubicBezTo>
                    <a:cubicBezTo>
                      <a:pt x="88" y="20"/>
                      <a:pt x="153" y="53"/>
                      <a:pt x="210" y="77"/>
                    </a:cubicBezTo>
                    <a:cubicBezTo>
                      <a:pt x="237" y="89"/>
                      <a:pt x="262" y="100"/>
                      <a:pt x="289" y="108"/>
                    </a:cubicBezTo>
                    <a:cubicBezTo>
                      <a:pt x="258" y="101"/>
                      <a:pt x="227" y="95"/>
                      <a:pt x="197" y="86"/>
                    </a:cubicBezTo>
                    <a:cubicBezTo>
                      <a:pt x="135" y="69"/>
                      <a:pt x="73" y="51"/>
                      <a:pt x="15" y="22"/>
                    </a:cubicBezTo>
                    <a:cubicBezTo>
                      <a:pt x="10" y="26"/>
                      <a:pt x="5" y="31"/>
                      <a:pt x="0" y="35"/>
                    </a:cubicBezTo>
                    <a:cubicBezTo>
                      <a:pt x="58" y="65"/>
                      <a:pt x="121" y="85"/>
                      <a:pt x="185" y="100"/>
                    </a:cubicBezTo>
                    <a:cubicBezTo>
                      <a:pt x="260" y="118"/>
                      <a:pt x="336" y="138"/>
                      <a:pt x="413" y="152"/>
                    </a:cubicBezTo>
                    <a:cubicBezTo>
                      <a:pt x="410" y="141"/>
                      <a:pt x="406" y="131"/>
                      <a:pt x="402" y="121"/>
                    </a:cubicBezTo>
                    <a:cubicBezTo>
                      <a:pt x="376" y="111"/>
                      <a:pt x="350" y="104"/>
                      <a:pt x="323" y="98"/>
                    </a:cubicBezTo>
                    <a:cubicBezTo>
                      <a:pt x="281" y="88"/>
                      <a:pt x="243" y="71"/>
                      <a:pt x="203" y="53"/>
                    </a:cubicBezTo>
                    <a:cubicBezTo>
                      <a:pt x="156" y="32"/>
                      <a:pt x="103" y="8"/>
                      <a:pt x="49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Freeform 3186"/>
              <p:cNvSpPr/>
              <p:nvPr userDrawn="1"/>
            </p:nvSpPr>
            <p:spPr bwMode="auto">
              <a:xfrm>
                <a:off x="5281938" y="933985"/>
                <a:ext cx="782377" cy="266597"/>
              </a:xfrm>
              <a:custGeom>
                <a:avLst/>
                <a:gdLst>
                  <a:gd name="T0" fmla="*/ 2 w 427"/>
                  <a:gd name="T1" fmla="*/ 0 h 146"/>
                  <a:gd name="T2" fmla="*/ 0 w 427"/>
                  <a:gd name="T3" fmla="*/ 0 h 146"/>
                  <a:gd name="T4" fmla="*/ 12 w 427"/>
                  <a:gd name="T5" fmla="*/ 26 h 146"/>
                  <a:gd name="T6" fmla="*/ 17 w 427"/>
                  <a:gd name="T7" fmla="*/ 27 h 146"/>
                  <a:gd name="T8" fmla="*/ 22 w 427"/>
                  <a:gd name="T9" fmla="*/ 26 h 146"/>
                  <a:gd name="T10" fmla="*/ 22 w 427"/>
                  <a:gd name="T11" fmla="*/ 26 h 146"/>
                  <a:gd name="T12" fmla="*/ 89 w 427"/>
                  <a:gd name="T13" fmla="*/ 42 h 146"/>
                  <a:gd name="T14" fmla="*/ 133 w 427"/>
                  <a:gd name="T15" fmla="*/ 53 h 146"/>
                  <a:gd name="T16" fmla="*/ 206 w 427"/>
                  <a:gd name="T17" fmla="*/ 66 h 146"/>
                  <a:gd name="T18" fmla="*/ 229 w 427"/>
                  <a:gd name="T19" fmla="*/ 73 h 146"/>
                  <a:gd name="T20" fmla="*/ 331 w 427"/>
                  <a:gd name="T21" fmla="*/ 105 h 146"/>
                  <a:gd name="T22" fmla="*/ 402 w 427"/>
                  <a:gd name="T23" fmla="*/ 133 h 146"/>
                  <a:gd name="T24" fmla="*/ 384 w 427"/>
                  <a:gd name="T25" fmla="*/ 133 h 146"/>
                  <a:gd name="T26" fmla="*/ 274 w 427"/>
                  <a:gd name="T27" fmla="*/ 119 h 146"/>
                  <a:gd name="T28" fmla="*/ 135 w 427"/>
                  <a:gd name="T29" fmla="*/ 78 h 146"/>
                  <a:gd name="T30" fmla="*/ 131 w 427"/>
                  <a:gd name="T31" fmla="*/ 77 h 146"/>
                  <a:gd name="T32" fmla="*/ 127 w 427"/>
                  <a:gd name="T33" fmla="*/ 98 h 146"/>
                  <a:gd name="T34" fmla="*/ 389 w 427"/>
                  <a:gd name="T35" fmla="*/ 146 h 146"/>
                  <a:gd name="T36" fmla="*/ 420 w 427"/>
                  <a:gd name="T37" fmla="*/ 145 h 146"/>
                  <a:gd name="T38" fmla="*/ 424 w 427"/>
                  <a:gd name="T39" fmla="*/ 134 h 146"/>
                  <a:gd name="T40" fmla="*/ 346 w 427"/>
                  <a:gd name="T41" fmla="*/ 89 h 146"/>
                  <a:gd name="T42" fmla="*/ 243 w 427"/>
                  <a:gd name="T43" fmla="*/ 57 h 146"/>
                  <a:gd name="T44" fmla="*/ 236 w 427"/>
                  <a:gd name="T45" fmla="*/ 55 h 146"/>
                  <a:gd name="T46" fmla="*/ 3 w 427"/>
                  <a:gd name="T47" fmla="*/ 0 h 146"/>
                  <a:gd name="T48" fmla="*/ 2 w 427"/>
                  <a:gd name="T49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27" h="146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4" y="9"/>
                      <a:pt x="7" y="17"/>
                      <a:pt x="12" y="26"/>
                    </a:cubicBezTo>
                    <a:cubicBezTo>
                      <a:pt x="13" y="26"/>
                      <a:pt x="15" y="27"/>
                      <a:pt x="17" y="27"/>
                    </a:cubicBezTo>
                    <a:cubicBezTo>
                      <a:pt x="18" y="27"/>
                      <a:pt x="20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45" y="27"/>
                      <a:pt x="67" y="36"/>
                      <a:pt x="89" y="42"/>
                    </a:cubicBezTo>
                    <a:cubicBezTo>
                      <a:pt x="104" y="45"/>
                      <a:pt x="118" y="50"/>
                      <a:pt x="133" y="53"/>
                    </a:cubicBezTo>
                    <a:cubicBezTo>
                      <a:pt x="157" y="58"/>
                      <a:pt x="181" y="61"/>
                      <a:pt x="206" y="66"/>
                    </a:cubicBezTo>
                    <a:cubicBezTo>
                      <a:pt x="213" y="68"/>
                      <a:pt x="221" y="70"/>
                      <a:pt x="229" y="73"/>
                    </a:cubicBezTo>
                    <a:cubicBezTo>
                      <a:pt x="263" y="84"/>
                      <a:pt x="297" y="95"/>
                      <a:pt x="331" y="105"/>
                    </a:cubicBezTo>
                    <a:cubicBezTo>
                      <a:pt x="355" y="111"/>
                      <a:pt x="381" y="118"/>
                      <a:pt x="402" y="133"/>
                    </a:cubicBezTo>
                    <a:cubicBezTo>
                      <a:pt x="396" y="133"/>
                      <a:pt x="390" y="133"/>
                      <a:pt x="384" y="133"/>
                    </a:cubicBezTo>
                    <a:cubicBezTo>
                      <a:pt x="347" y="133"/>
                      <a:pt x="309" y="126"/>
                      <a:pt x="274" y="119"/>
                    </a:cubicBezTo>
                    <a:cubicBezTo>
                      <a:pt x="227" y="108"/>
                      <a:pt x="180" y="95"/>
                      <a:pt x="135" y="78"/>
                    </a:cubicBezTo>
                    <a:cubicBezTo>
                      <a:pt x="133" y="78"/>
                      <a:pt x="132" y="77"/>
                      <a:pt x="131" y="77"/>
                    </a:cubicBezTo>
                    <a:cubicBezTo>
                      <a:pt x="120" y="77"/>
                      <a:pt x="115" y="94"/>
                      <a:pt x="127" y="98"/>
                    </a:cubicBezTo>
                    <a:cubicBezTo>
                      <a:pt x="212" y="127"/>
                      <a:pt x="300" y="146"/>
                      <a:pt x="389" y="146"/>
                    </a:cubicBezTo>
                    <a:cubicBezTo>
                      <a:pt x="399" y="146"/>
                      <a:pt x="410" y="146"/>
                      <a:pt x="420" y="145"/>
                    </a:cubicBezTo>
                    <a:cubicBezTo>
                      <a:pt x="425" y="145"/>
                      <a:pt x="427" y="138"/>
                      <a:pt x="424" y="134"/>
                    </a:cubicBezTo>
                    <a:cubicBezTo>
                      <a:pt x="406" y="107"/>
                      <a:pt x="376" y="98"/>
                      <a:pt x="346" y="89"/>
                    </a:cubicBezTo>
                    <a:cubicBezTo>
                      <a:pt x="313" y="75"/>
                      <a:pt x="278" y="65"/>
                      <a:pt x="243" y="57"/>
                    </a:cubicBezTo>
                    <a:cubicBezTo>
                      <a:pt x="241" y="56"/>
                      <a:pt x="239" y="56"/>
                      <a:pt x="236" y="55"/>
                    </a:cubicBezTo>
                    <a:cubicBezTo>
                      <a:pt x="160" y="31"/>
                      <a:pt x="83" y="6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E1BF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Freeform 3187"/>
              <p:cNvSpPr/>
              <p:nvPr userDrawn="1"/>
            </p:nvSpPr>
            <p:spPr bwMode="auto">
              <a:xfrm>
                <a:off x="5658390" y="935325"/>
                <a:ext cx="467550" cy="158083"/>
              </a:xfrm>
              <a:custGeom>
                <a:avLst/>
                <a:gdLst>
                  <a:gd name="T0" fmla="*/ 12 w 255"/>
                  <a:gd name="T1" fmla="*/ 0 h 86"/>
                  <a:gd name="T2" fmla="*/ 9 w 255"/>
                  <a:gd name="T3" fmla="*/ 17 h 86"/>
                  <a:gd name="T4" fmla="*/ 151 w 255"/>
                  <a:gd name="T5" fmla="*/ 59 h 86"/>
                  <a:gd name="T6" fmla="*/ 225 w 255"/>
                  <a:gd name="T7" fmla="*/ 77 h 86"/>
                  <a:gd name="T8" fmla="*/ 243 w 255"/>
                  <a:gd name="T9" fmla="*/ 85 h 86"/>
                  <a:gd name="T10" fmla="*/ 246 w 255"/>
                  <a:gd name="T11" fmla="*/ 86 h 86"/>
                  <a:gd name="T12" fmla="*/ 252 w 255"/>
                  <a:gd name="T13" fmla="*/ 80 h 86"/>
                  <a:gd name="T14" fmla="*/ 252 w 255"/>
                  <a:gd name="T15" fmla="*/ 80 h 86"/>
                  <a:gd name="T16" fmla="*/ 255 w 255"/>
                  <a:gd name="T17" fmla="*/ 71 h 86"/>
                  <a:gd name="T18" fmla="*/ 242 w 255"/>
                  <a:gd name="T19" fmla="*/ 67 h 86"/>
                  <a:gd name="T20" fmla="*/ 105 w 255"/>
                  <a:gd name="T21" fmla="*/ 21 h 86"/>
                  <a:gd name="T22" fmla="*/ 13 w 255"/>
                  <a:gd name="T23" fmla="*/ 0 h 86"/>
                  <a:gd name="T24" fmla="*/ 12 w 255"/>
                  <a:gd name="T2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86">
                    <a:moveTo>
                      <a:pt x="12" y="0"/>
                    </a:moveTo>
                    <a:cubicBezTo>
                      <a:pt x="3" y="0"/>
                      <a:pt x="0" y="14"/>
                      <a:pt x="9" y="17"/>
                    </a:cubicBezTo>
                    <a:cubicBezTo>
                      <a:pt x="56" y="31"/>
                      <a:pt x="104" y="45"/>
                      <a:pt x="151" y="59"/>
                    </a:cubicBezTo>
                    <a:cubicBezTo>
                      <a:pt x="175" y="67"/>
                      <a:pt x="200" y="73"/>
                      <a:pt x="225" y="77"/>
                    </a:cubicBezTo>
                    <a:cubicBezTo>
                      <a:pt x="231" y="80"/>
                      <a:pt x="237" y="82"/>
                      <a:pt x="243" y="85"/>
                    </a:cubicBezTo>
                    <a:cubicBezTo>
                      <a:pt x="244" y="85"/>
                      <a:pt x="245" y="86"/>
                      <a:pt x="246" y="86"/>
                    </a:cubicBezTo>
                    <a:cubicBezTo>
                      <a:pt x="249" y="86"/>
                      <a:pt x="251" y="83"/>
                      <a:pt x="252" y="80"/>
                    </a:cubicBezTo>
                    <a:cubicBezTo>
                      <a:pt x="252" y="80"/>
                      <a:pt x="252" y="80"/>
                      <a:pt x="252" y="80"/>
                    </a:cubicBezTo>
                    <a:cubicBezTo>
                      <a:pt x="253" y="77"/>
                      <a:pt x="254" y="74"/>
                      <a:pt x="255" y="71"/>
                    </a:cubicBezTo>
                    <a:cubicBezTo>
                      <a:pt x="251" y="70"/>
                      <a:pt x="246" y="69"/>
                      <a:pt x="242" y="67"/>
                    </a:cubicBezTo>
                    <a:cubicBezTo>
                      <a:pt x="203" y="41"/>
                      <a:pt x="154" y="31"/>
                      <a:pt x="105" y="21"/>
                    </a:cubicBezTo>
                    <a:cubicBezTo>
                      <a:pt x="75" y="11"/>
                      <a:pt x="45" y="3"/>
                      <a:pt x="13" y="0"/>
                    </a:cubicBezTo>
                    <a:cubicBezTo>
                      <a:pt x="13" y="0"/>
                      <a:pt x="13" y="0"/>
                      <a:pt x="12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Freeform 3188"/>
              <p:cNvSpPr/>
              <p:nvPr userDrawn="1"/>
            </p:nvSpPr>
            <p:spPr bwMode="auto">
              <a:xfrm>
                <a:off x="5835228" y="850925"/>
                <a:ext cx="6698" cy="2679"/>
              </a:xfrm>
              <a:custGeom>
                <a:avLst/>
                <a:gdLst>
                  <a:gd name="T0" fmla="*/ 3 w 3"/>
                  <a:gd name="T1" fmla="*/ 0 h 1"/>
                  <a:gd name="T2" fmla="*/ 3 w 3"/>
                  <a:gd name="T3" fmla="*/ 0 h 1"/>
                  <a:gd name="T4" fmla="*/ 0 w 3"/>
                  <a:gd name="T5" fmla="*/ 1 h 1"/>
                  <a:gd name="T6" fmla="*/ 0 w 3"/>
                  <a:gd name="T7" fmla="*/ 1 h 1"/>
                  <a:gd name="T8" fmla="*/ 1 w 3"/>
                  <a:gd name="T9" fmla="*/ 1 h 1"/>
                  <a:gd name="T10" fmla="*/ 3 w 3"/>
                  <a:gd name="T11" fmla="*/ 1 h 1"/>
                  <a:gd name="T12" fmla="*/ 3 w 3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Freeform 3189"/>
              <p:cNvSpPr/>
              <p:nvPr userDrawn="1"/>
            </p:nvSpPr>
            <p:spPr bwMode="auto">
              <a:xfrm>
                <a:off x="5275240" y="710258"/>
                <a:ext cx="577405" cy="146026"/>
              </a:xfrm>
              <a:custGeom>
                <a:avLst/>
                <a:gdLst>
                  <a:gd name="T0" fmla="*/ 3 w 315"/>
                  <a:gd name="T1" fmla="*/ 0 h 80"/>
                  <a:gd name="T2" fmla="*/ 0 w 315"/>
                  <a:gd name="T3" fmla="*/ 6 h 80"/>
                  <a:gd name="T4" fmla="*/ 25 w 315"/>
                  <a:gd name="T5" fmla="*/ 15 h 80"/>
                  <a:gd name="T6" fmla="*/ 49 w 315"/>
                  <a:gd name="T7" fmla="*/ 22 h 80"/>
                  <a:gd name="T8" fmla="*/ 173 w 315"/>
                  <a:gd name="T9" fmla="*/ 53 h 80"/>
                  <a:gd name="T10" fmla="*/ 268 w 315"/>
                  <a:gd name="T11" fmla="*/ 73 h 80"/>
                  <a:gd name="T12" fmla="*/ 296 w 315"/>
                  <a:gd name="T13" fmla="*/ 79 h 80"/>
                  <a:gd name="T14" fmla="*/ 299 w 315"/>
                  <a:gd name="T15" fmla="*/ 80 h 80"/>
                  <a:gd name="T16" fmla="*/ 306 w 315"/>
                  <a:gd name="T17" fmla="*/ 78 h 80"/>
                  <a:gd name="T18" fmla="*/ 306 w 315"/>
                  <a:gd name="T19" fmla="*/ 78 h 80"/>
                  <a:gd name="T20" fmla="*/ 304 w 315"/>
                  <a:gd name="T21" fmla="*/ 78 h 80"/>
                  <a:gd name="T22" fmla="*/ 306 w 315"/>
                  <a:gd name="T23" fmla="*/ 78 h 80"/>
                  <a:gd name="T24" fmla="*/ 306 w 315"/>
                  <a:gd name="T25" fmla="*/ 78 h 80"/>
                  <a:gd name="T26" fmla="*/ 309 w 315"/>
                  <a:gd name="T27" fmla="*/ 77 h 80"/>
                  <a:gd name="T28" fmla="*/ 306 w 315"/>
                  <a:gd name="T29" fmla="*/ 61 h 80"/>
                  <a:gd name="T30" fmla="*/ 310 w 315"/>
                  <a:gd name="T31" fmla="*/ 62 h 80"/>
                  <a:gd name="T32" fmla="*/ 308 w 315"/>
                  <a:gd name="T33" fmla="*/ 61 h 80"/>
                  <a:gd name="T34" fmla="*/ 299 w 315"/>
                  <a:gd name="T35" fmla="*/ 57 h 80"/>
                  <a:gd name="T36" fmla="*/ 271 w 315"/>
                  <a:gd name="T37" fmla="*/ 51 h 80"/>
                  <a:gd name="T38" fmla="*/ 175 w 315"/>
                  <a:gd name="T39" fmla="*/ 31 h 80"/>
                  <a:gd name="T40" fmla="*/ 3 w 315"/>
                  <a:gd name="T41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5" h="80">
                    <a:moveTo>
                      <a:pt x="3" y="0"/>
                    </a:moveTo>
                    <a:cubicBezTo>
                      <a:pt x="2" y="2"/>
                      <a:pt x="1" y="4"/>
                      <a:pt x="0" y="6"/>
                    </a:cubicBezTo>
                    <a:cubicBezTo>
                      <a:pt x="8" y="9"/>
                      <a:pt x="17" y="12"/>
                      <a:pt x="25" y="15"/>
                    </a:cubicBezTo>
                    <a:cubicBezTo>
                      <a:pt x="33" y="17"/>
                      <a:pt x="41" y="20"/>
                      <a:pt x="49" y="22"/>
                    </a:cubicBezTo>
                    <a:cubicBezTo>
                      <a:pt x="90" y="34"/>
                      <a:pt x="132" y="43"/>
                      <a:pt x="173" y="53"/>
                    </a:cubicBezTo>
                    <a:cubicBezTo>
                      <a:pt x="204" y="60"/>
                      <a:pt x="236" y="67"/>
                      <a:pt x="268" y="73"/>
                    </a:cubicBezTo>
                    <a:cubicBezTo>
                      <a:pt x="277" y="75"/>
                      <a:pt x="287" y="78"/>
                      <a:pt x="296" y="79"/>
                    </a:cubicBezTo>
                    <a:cubicBezTo>
                      <a:pt x="297" y="80"/>
                      <a:pt x="298" y="80"/>
                      <a:pt x="299" y="80"/>
                    </a:cubicBezTo>
                    <a:cubicBezTo>
                      <a:pt x="301" y="80"/>
                      <a:pt x="303" y="79"/>
                      <a:pt x="306" y="78"/>
                    </a:cubicBezTo>
                    <a:cubicBezTo>
                      <a:pt x="306" y="78"/>
                      <a:pt x="306" y="78"/>
                      <a:pt x="306" y="78"/>
                    </a:cubicBezTo>
                    <a:cubicBezTo>
                      <a:pt x="306" y="78"/>
                      <a:pt x="305" y="78"/>
                      <a:pt x="304" y="78"/>
                    </a:cubicBezTo>
                    <a:cubicBezTo>
                      <a:pt x="305" y="78"/>
                      <a:pt x="305" y="78"/>
                      <a:pt x="306" y="78"/>
                    </a:cubicBezTo>
                    <a:cubicBezTo>
                      <a:pt x="306" y="78"/>
                      <a:pt x="306" y="78"/>
                      <a:pt x="306" y="78"/>
                    </a:cubicBezTo>
                    <a:cubicBezTo>
                      <a:pt x="307" y="78"/>
                      <a:pt x="308" y="78"/>
                      <a:pt x="309" y="77"/>
                    </a:cubicBezTo>
                    <a:cubicBezTo>
                      <a:pt x="315" y="75"/>
                      <a:pt x="315" y="63"/>
                      <a:pt x="306" y="61"/>
                    </a:cubicBezTo>
                    <a:cubicBezTo>
                      <a:pt x="308" y="62"/>
                      <a:pt x="309" y="62"/>
                      <a:pt x="310" y="62"/>
                    </a:cubicBezTo>
                    <a:cubicBezTo>
                      <a:pt x="309" y="62"/>
                      <a:pt x="309" y="62"/>
                      <a:pt x="308" y="61"/>
                    </a:cubicBezTo>
                    <a:cubicBezTo>
                      <a:pt x="305" y="59"/>
                      <a:pt x="303" y="57"/>
                      <a:pt x="299" y="57"/>
                    </a:cubicBezTo>
                    <a:cubicBezTo>
                      <a:pt x="289" y="55"/>
                      <a:pt x="280" y="53"/>
                      <a:pt x="271" y="51"/>
                    </a:cubicBezTo>
                    <a:cubicBezTo>
                      <a:pt x="239" y="44"/>
                      <a:pt x="207" y="38"/>
                      <a:pt x="175" y="31"/>
                    </a:cubicBezTo>
                    <a:cubicBezTo>
                      <a:pt x="118" y="20"/>
                      <a:pt x="60" y="12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Freeform 3190"/>
              <p:cNvSpPr/>
              <p:nvPr userDrawn="1"/>
            </p:nvSpPr>
            <p:spPr bwMode="auto">
              <a:xfrm>
                <a:off x="5320789" y="738391"/>
                <a:ext cx="44210" cy="12057"/>
              </a:xfrm>
              <a:custGeom>
                <a:avLst/>
                <a:gdLst>
                  <a:gd name="T0" fmla="*/ 0 w 24"/>
                  <a:gd name="T1" fmla="*/ 0 h 7"/>
                  <a:gd name="T2" fmla="*/ 24 w 24"/>
                  <a:gd name="T3" fmla="*/ 7 h 7"/>
                  <a:gd name="T4" fmla="*/ 0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0" y="0"/>
                    </a:moveTo>
                    <a:cubicBezTo>
                      <a:pt x="8" y="2"/>
                      <a:pt x="16" y="5"/>
                      <a:pt x="24" y="7"/>
                    </a:cubicBezTo>
                    <a:cubicBezTo>
                      <a:pt x="16" y="5"/>
                      <a:pt x="8" y="2"/>
                      <a:pt x="0" y="0"/>
                    </a:cubicBezTo>
                  </a:path>
                </a:pathLst>
              </a:custGeom>
              <a:solidFill>
                <a:srgbClr val="EAA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Freeform 3191"/>
              <p:cNvSpPr/>
              <p:nvPr userDrawn="1"/>
            </p:nvSpPr>
            <p:spPr bwMode="auto">
              <a:xfrm>
                <a:off x="5843267" y="824131"/>
                <a:ext cx="4019" cy="1340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1" y="1"/>
                      <a:pt x="0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Freeform 3192"/>
              <p:cNvSpPr/>
              <p:nvPr userDrawn="1"/>
            </p:nvSpPr>
            <p:spPr bwMode="auto">
              <a:xfrm>
                <a:off x="5307392" y="983554"/>
                <a:ext cx="296071" cy="71003"/>
              </a:xfrm>
              <a:custGeom>
                <a:avLst/>
                <a:gdLst>
                  <a:gd name="T0" fmla="*/ 3 w 161"/>
                  <a:gd name="T1" fmla="*/ 0 h 39"/>
                  <a:gd name="T2" fmla="*/ 0 w 161"/>
                  <a:gd name="T3" fmla="*/ 4 h 39"/>
                  <a:gd name="T4" fmla="*/ 6 w 161"/>
                  <a:gd name="T5" fmla="*/ 14 h 39"/>
                  <a:gd name="T6" fmla="*/ 81 w 161"/>
                  <a:gd name="T7" fmla="*/ 29 h 39"/>
                  <a:gd name="T8" fmla="*/ 160 w 161"/>
                  <a:gd name="T9" fmla="*/ 39 h 39"/>
                  <a:gd name="T10" fmla="*/ 160 w 161"/>
                  <a:gd name="T11" fmla="*/ 39 h 39"/>
                  <a:gd name="T12" fmla="*/ 160 w 161"/>
                  <a:gd name="T13" fmla="*/ 37 h 39"/>
                  <a:gd name="T14" fmla="*/ 119 w 161"/>
                  <a:gd name="T15" fmla="*/ 26 h 39"/>
                  <a:gd name="T16" fmla="*/ 3 w 161"/>
                  <a:gd name="T1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" h="39">
                    <a:moveTo>
                      <a:pt x="3" y="0"/>
                    </a:moveTo>
                    <a:cubicBezTo>
                      <a:pt x="2" y="1"/>
                      <a:pt x="1" y="3"/>
                      <a:pt x="0" y="4"/>
                    </a:cubicBezTo>
                    <a:cubicBezTo>
                      <a:pt x="2" y="7"/>
                      <a:pt x="4" y="11"/>
                      <a:pt x="6" y="14"/>
                    </a:cubicBezTo>
                    <a:cubicBezTo>
                      <a:pt x="29" y="23"/>
                      <a:pt x="56" y="25"/>
                      <a:pt x="81" y="29"/>
                    </a:cubicBezTo>
                    <a:cubicBezTo>
                      <a:pt x="107" y="33"/>
                      <a:pt x="133" y="36"/>
                      <a:pt x="160" y="39"/>
                    </a:cubicBezTo>
                    <a:cubicBezTo>
                      <a:pt x="160" y="39"/>
                      <a:pt x="160" y="39"/>
                      <a:pt x="160" y="39"/>
                    </a:cubicBezTo>
                    <a:cubicBezTo>
                      <a:pt x="161" y="39"/>
                      <a:pt x="161" y="37"/>
                      <a:pt x="160" y="37"/>
                    </a:cubicBezTo>
                    <a:cubicBezTo>
                      <a:pt x="146" y="34"/>
                      <a:pt x="133" y="30"/>
                      <a:pt x="119" y="26"/>
                    </a:cubicBezTo>
                    <a:cubicBezTo>
                      <a:pt x="80" y="20"/>
                      <a:pt x="41" y="12"/>
                      <a:pt x="3" y="0"/>
                    </a:cubicBezTo>
                  </a:path>
                </a:pathLst>
              </a:custGeom>
              <a:solidFill>
                <a:srgbClr val="EEC7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0" name="Freeform 3193"/>
              <p:cNvSpPr/>
              <p:nvPr userDrawn="1"/>
            </p:nvSpPr>
            <p:spPr bwMode="auto">
              <a:xfrm>
                <a:off x="5312751" y="980874"/>
                <a:ext cx="213010" cy="49568"/>
              </a:xfrm>
              <a:custGeom>
                <a:avLst/>
                <a:gdLst>
                  <a:gd name="T0" fmla="*/ 5 w 116"/>
                  <a:gd name="T1" fmla="*/ 0 h 27"/>
                  <a:gd name="T2" fmla="*/ 0 w 116"/>
                  <a:gd name="T3" fmla="*/ 1 h 27"/>
                  <a:gd name="T4" fmla="*/ 116 w 116"/>
                  <a:gd name="T5" fmla="*/ 27 h 27"/>
                  <a:gd name="T6" fmla="*/ 72 w 116"/>
                  <a:gd name="T7" fmla="*/ 16 h 27"/>
                  <a:gd name="T8" fmla="*/ 5 w 116"/>
                  <a:gd name="T9" fmla="*/ 0 h 27"/>
                  <a:gd name="T10" fmla="*/ 5 w 116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27">
                    <a:moveTo>
                      <a:pt x="5" y="0"/>
                    </a:moveTo>
                    <a:cubicBezTo>
                      <a:pt x="3" y="0"/>
                      <a:pt x="1" y="1"/>
                      <a:pt x="0" y="1"/>
                    </a:cubicBezTo>
                    <a:cubicBezTo>
                      <a:pt x="38" y="13"/>
                      <a:pt x="77" y="21"/>
                      <a:pt x="116" y="27"/>
                    </a:cubicBezTo>
                    <a:cubicBezTo>
                      <a:pt x="101" y="24"/>
                      <a:pt x="87" y="19"/>
                      <a:pt x="72" y="16"/>
                    </a:cubicBezTo>
                    <a:cubicBezTo>
                      <a:pt x="50" y="10"/>
                      <a:pt x="28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EAA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1" name="Freeform 3194"/>
              <p:cNvSpPr>
                <a:spLocks noEditPoints="1"/>
              </p:cNvSpPr>
              <p:nvPr userDrawn="1"/>
            </p:nvSpPr>
            <p:spPr bwMode="auto">
              <a:xfrm>
                <a:off x="5425285" y="1134938"/>
                <a:ext cx="521138" cy="239804"/>
              </a:xfrm>
              <a:custGeom>
                <a:avLst/>
                <a:gdLst>
                  <a:gd name="T0" fmla="*/ 251 w 284"/>
                  <a:gd name="T1" fmla="*/ 118 h 131"/>
                  <a:gd name="T2" fmla="*/ 220 w 284"/>
                  <a:gd name="T3" fmla="*/ 131 h 131"/>
                  <a:gd name="T4" fmla="*/ 220 w 284"/>
                  <a:gd name="T5" fmla="*/ 131 h 131"/>
                  <a:gd name="T6" fmla="*/ 251 w 284"/>
                  <a:gd name="T7" fmla="*/ 118 h 131"/>
                  <a:gd name="T8" fmla="*/ 251 w 284"/>
                  <a:gd name="T9" fmla="*/ 118 h 131"/>
                  <a:gd name="T10" fmla="*/ 284 w 284"/>
                  <a:gd name="T11" fmla="*/ 99 h 131"/>
                  <a:gd name="T12" fmla="*/ 279 w 284"/>
                  <a:gd name="T13" fmla="*/ 102 h 131"/>
                  <a:gd name="T14" fmla="*/ 279 w 284"/>
                  <a:gd name="T15" fmla="*/ 102 h 131"/>
                  <a:gd name="T16" fmla="*/ 284 w 284"/>
                  <a:gd name="T17" fmla="*/ 99 h 131"/>
                  <a:gd name="T18" fmla="*/ 284 w 284"/>
                  <a:gd name="T19" fmla="*/ 99 h 131"/>
                  <a:gd name="T20" fmla="*/ 0 w 284"/>
                  <a:gd name="T21" fmla="*/ 0 h 131"/>
                  <a:gd name="T22" fmla="*/ 28 w 284"/>
                  <a:gd name="T23" fmla="*/ 26 h 131"/>
                  <a:gd name="T24" fmla="*/ 39 w 284"/>
                  <a:gd name="T25" fmla="*/ 33 h 131"/>
                  <a:gd name="T26" fmla="*/ 93 w 284"/>
                  <a:gd name="T27" fmla="*/ 44 h 131"/>
                  <a:gd name="T28" fmla="*/ 221 w 284"/>
                  <a:gd name="T29" fmla="*/ 79 h 131"/>
                  <a:gd name="T30" fmla="*/ 240 w 284"/>
                  <a:gd name="T31" fmla="*/ 77 h 131"/>
                  <a:gd name="T32" fmla="*/ 97 w 284"/>
                  <a:gd name="T33" fmla="*/ 27 h 131"/>
                  <a:gd name="T34" fmla="*/ 0 w 284"/>
                  <a:gd name="T3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4" h="131">
                    <a:moveTo>
                      <a:pt x="251" y="118"/>
                    </a:moveTo>
                    <a:cubicBezTo>
                      <a:pt x="241" y="123"/>
                      <a:pt x="231" y="127"/>
                      <a:pt x="220" y="131"/>
                    </a:cubicBezTo>
                    <a:cubicBezTo>
                      <a:pt x="220" y="131"/>
                      <a:pt x="220" y="131"/>
                      <a:pt x="220" y="131"/>
                    </a:cubicBezTo>
                    <a:cubicBezTo>
                      <a:pt x="231" y="127"/>
                      <a:pt x="241" y="123"/>
                      <a:pt x="251" y="118"/>
                    </a:cubicBezTo>
                    <a:cubicBezTo>
                      <a:pt x="251" y="118"/>
                      <a:pt x="251" y="118"/>
                      <a:pt x="251" y="118"/>
                    </a:cubicBezTo>
                    <a:moveTo>
                      <a:pt x="284" y="99"/>
                    </a:moveTo>
                    <a:cubicBezTo>
                      <a:pt x="282" y="100"/>
                      <a:pt x="281" y="101"/>
                      <a:pt x="279" y="102"/>
                    </a:cubicBezTo>
                    <a:cubicBezTo>
                      <a:pt x="279" y="102"/>
                      <a:pt x="279" y="102"/>
                      <a:pt x="279" y="102"/>
                    </a:cubicBezTo>
                    <a:cubicBezTo>
                      <a:pt x="281" y="101"/>
                      <a:pt x="282" y="100"/>
                      <a:pt x="284" y="99"/>
                    </a:cubicBezTo>
                    <a:cubicBezTo>
                      <a:pt x="284" y="99"/>
                      <a:pt x="284" y="99"/>
                      <a:pt x="284" y="99"/>
                    </a:cubicBezTo>
                    <a:moveTo>
                      <a:pt x="0" y="0"/>
                    </a:moveTo>
                    <a:cubicBezTo>
                      <a:pt x="9" y="8"/>
                      <a:pt x="19" y="17"/>
                      <a:pt x="28" y="26"/>
                    </a:cubicBezTo>
                    <a:cubicBezTo>
                      <a:pt x="32" y="28"/>
                      <a:pt x="35" y="31"/>
                      <a:pt x="39" y="33"/>
                    </a:cubicBezTo>
                    <a:cubicBezTo>
                      <a:pt x="57" y="37"/>
                      <a:pt x="75" y="40"/>
                      <a:pt x="93" y="44"/>
                    </a:cubicBezTo>
                    <a:cubicBezTo>
                      <a:pt x="136" y="53"/>
                      <a:pt x="179" y="64"/>
                      <a:pt x="221" y="79"/>
                    </a:cubicBezTo>
                    <a:cubicBezTo>
                      <a:pt x="227" y="78"/>
                      <a:pt x="234" y="78"/>
                      <a:pt x="240" y="77"/>
                    </a:cubicBezTo>
                    <a:cubicBezTo>
                      <a:pt x="194" y="56"/>
                      <a:pt x="146" y="41"/>
                      <a:pt x="97" y="27"/>
                    </a:cubicBezTo>
                    <a:cubicBezTo>
                      <a:pt x="65" y="18"/>
                      <a:pt x="32" y="9"/>
                      <a:pt x="0" y="0"/>
                    </a:cubicBezTo>
                  </a:path>
                </a:pathLst>
              </a:custGeom>
              <a:solidFill>
                <a:srgbClr val="D2C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2" name="Freeform 3195"/>
              <p:cNvSpPr/>
              <p:nvPr userDrawn="1"/>
            </p:nvSpPr>
            <p:spPr bwMode="auto">
              <a:xfrm>
                <a:off x="5555234" y="517343"/>
                <a:ext cx="491665" cy="144686"/>
              </a:xfrm>
              <a:custGeom>
                <a:avLst/>
                <a:gdLst>
                  <a:gd name="T0" fmla="*/ 7 w 268"/>
                  <a:gd name="T1" fmla="*/ 0 h 79"/>
                  <a:gd name="T2" fmla="*/ 6 w 268"/>
                  <a:gd name="T3" fmla="*/ 10 h 79"/>
                  <a:gd name="T4" fmla="*/ 258 w 268"/>
                  <a:gd name="T5" fmla="*/ 78 h 79"/>
                  <a:gd name="T6" fmla="*/ 261 w 268"/>
                  <a:gd name="T7" fmla="*/ 79 h 79"/>
                  <a:gd name="T8" fmla="*/ 268 w 268"/>
                  <a:gd name="T9" fmla="*/ 73 h 79"/>
                  <a:gd name="T10" fmla="*/ 258 w 268"/>
                  <a:gd name="T11" fmla="*/ 62 h 79"/>
                  <a:gd name="T12" fmla="*/ 71 w 268"/>
                  <a:gd name="T13" fmla="*/ 6 h 79"/>
                  <a:gd name="T14" fmla="*/ 71 w 268"/>
                  <a:gd name="T15" fmla="*/ 6 h 79"/>
                  <a:gd name="T16" fmla="*/ 68 w 268"/>
                  <a:gd name="T17" fmla="*/ 9 h 79"/>
                  <a:gd name="T18" fmla="*/ 7 w 268"/>
                  <a:gd name="T19" fmla="*/ 0 h 79"/>
                  <a:gd name="T20" fmla="*/ 7 w 268"/>
                  <a:gd name="T2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79">
                    <a:moveTo>
                      <a:pt x="7" y="0"/>
                    </a:moveTo>
                    <a:cubicBezTo>
                      <a:pt x="1" y="0"/>
                      <a:pt x="0" y="9"/>
                      <a:pt x="6" y="10"/>
                    </a:cubicBezTo>
                    <a:cubicBezTo>
                      <a:pt x="93" y="23"/>
                      <a:pt x="175" y="51"/>
                      <a:pt x="258" y="78"/>
                    </a:cubicBezTo>
                    <a:cubicBezTo>
                      <a:pt x="259" y="79"/>
                      <a:pt x="260" y="79"/>
                      <a:pt x="261" y="79"/>
                    </a:cubicBezTo>
                    <a:cubicBezTo>
                      <a:pt x="264" y="79"/>
                      <a:pt x="267" y="76"/>
                      <a:pt x="268" y="73"/>
                    </a:cubicBezTo>
                    <a:cubicBezTo>
                      <a:pt x="265" y="70"/>
                      <a:pt x="262" y="66"/>
                      <a:pt x="258" y="62"/>
                    </a:cubicBezTo>
                    <a:cubicBezTo>
                      <a:pt x="198" y="37"/>
                      <a:pt x="136" y="15"/>
                      <a:pt x="71" y="6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69" y="6"/>
                      <a:pt x="68" y="7"/>
                      <a:pt x="68" y="9"/>
                    </a:cubicBezTo>
                    <a:cubicBezTo>
                      <a:pt x="48" y="5"/>
                      <a:pt x="28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D2C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3" name="Freeform 3196"/>
              <p:cNvSpPr>
                <a:spLocks noEditPoints="1"/>
              </p:cNvSpPr>
              <p:nvPr userDrawn="1"/>
            </p:nvSpPr>
            <p:spPr bwMode="auto">
              <a:xfrm>
                <a:off x="5225671" y="998290"/>
                <a:ext cx="547932" cy="400566"/>
              </a:xfrm>
              <a:custGeom>
                <a:avLst/>
                <a:gdLst>
                  <a:gd name="T0" fmla="*/ 249 w 299"/>
                  <a:gd name="T1" fmla="*/ 219 h 219"/>
                  <a:gd name="T2" fmla="*/ 249 w 299"/>
                  <a:gd name="T3" fmla="*/ 219 h 219"/>
                  <a:gd name="T4" fmla="*/ 249 w 299"/>
                  <a:gd name="T5" fmla="*/ 219 h 219"/>
                  <a:gd name="T6" fmla="*/ 249 w 299"/>
                  <a:gd name="T7" fmla="*/ 219 h 219"/>
                  <a:gd name="T8" fmla="*/ 294 w 299"/>
                  <a:gd name="T9" fmla="*/ 215 h 219"/>
                  <a:gd name="T10" fmla="*/ 293 w 299"/>
                  <a:gd name="T11" fmla="*/ 215 h 219"/>
                  <a:gd name="T12" fmla="*/ 294 w 299"/>
                  <a:gd name="T13" fmla="*/ 215 h 219"/>
                  <a:gd name="T14" fmla="*/ 294 w 299"/>
                  <a:gd name="T15" fmla="*/ 215 h 219"/>
                  <a:gd name="T16" fmla="*/ 294 w 299"/>
                  <a:gd name="T17" fmla="*/ 215 h 219"/>
                  <a:gd name="T18" fmla="*/ 294 w 299"/>
                  <a:gd name="T19" fmla="*/ 215 h 219"/>
                  <a:gd name="T20" fmla="*/ 295 w 299"/>
                  <a:gd name="T21" fmla="*/ 214 h 219"/>
                  <a:gd name="T22" fmla="*/ 295 w 299"/>
                  <a:gd name="T23" fmla="*/ 215 h 219"/>
                  <a:gd name="T24" fmla="*/ 295 w 299"/>
                  <a:gd name="T25" fmla="*/ 214 h 219"/>
                  <a:gd name="T26" fmla="*/ 296 w 299"/>
                  <a:gd name="T27" fmla="*/ 214 h 219"/>
                  <a:gd name="T28" fmla="*/ 296 w 299"/>
                  <a:gd name="T29" fmla="*/ 214 h 219"/>
                  <a:gd name="T30" fmla="*/ 296 w 299"/>
                  <a:gd name="T31" fmla="*/ 214 h 219"/>
                  <a:gd name="T32" fmla="*/ 297 w 299"/>
                  <a:gd name="T33" fmla="*/ 214 h 219"/>
                  <a:gd name="T34" fmla="*/ 297 w 299"/>
                  <a:gd name="T35" fmla="*/ 214 h 219"/>
                  <a:gd name="T36" fmla="*/ 297 w 299"/>
                  <a:gd name="T37" fmla="*/ 214 h 219"/>
                  <a:gd name="T38" fmla="*/ 297 w 299"/>
                  <a:gd name="T39" fmla="*/ 214 h 219"/>
                  <a:gd name="T40" fmla="*/ 297 w 299"/>
                  <a:gd name="T41" fmla="*/ 214 h 219"/>
                  <a:gd name="T42" fmla="*/ 297 w 299"/>
                  <a:gd name="T43" fmla="*/ 214 h 219"/>
                  <a:gd name="T44" fmla="*/ 298 w 299"/>
                  <a:gd name="T45" fmla="*/ 214 h 219"/>
                  <a:gd name="T46" fmla="*/ 298 w 299"/>
                  <a:gd name="T47" fmla="*/ 214 h 219"/>
                  <a:gd name="T48" fmla="*/ 298 w 299"/>
                  <a:gd name="T49" fmla="*/ 214 h 219"/>
                  <a:gd name="T50" fmla="*/ 299 w 299"/>
                  <a:gd name="T51" fmla="*/ 214 h 219"/>
                  <a:gd name="T52" fmla="*/ 299 w 299"/>
                  <a:gd name="T53" fmla="*/ 214 h 219"/>
                  <a:gd name="T54" fmla="*/ 299 w 299"/>
                  <a:gd name="T55" fmla="*/ 214 h 219"/>
                  <a:gd name="T56" fmla="*/ 2 w 299"/>
                  <a:gd name="T57" fmla="*/ 14 h 219"/>
                  <a:gd name="T58" fmla="*/ 249 w 299"/>
                  <a:gd name="T59" fmla="*/ 219 h 219"/>
                  <a:gd name="T60" fmla="*/ 2 w 299"/>
                  <a:gd name="T61" fmla="*/ 14 h 219"/>
                  <a:gd name="T62" fmla="*/ 2 w 299"/>
                  <a:gd name="T63" fmla="*/ 11 h 219"/>
                  <a:gd name="T64" fmla="*/ 2 w 299"/>
                  <a:gd name="T65" fmla="*/ 12 h 219"/>
                  <a:gd name="T66" fmla="*/ 2 w 299"/>
                  <a:gd name="T67" fmla="*/ 11 h 219"/>
                  <a:gd name="T68" fmla="*/ 1 w 299"/>
                  <a:gd name="T69" fmla="*/ 9 h 219"/>
                  <a:gd name="T70" fmla="*/ 1 w 299"/>
                  <a:gd name="T71" fmla="*/ 10 h 219"/>
                  <a:gd name="T72" fmla="*/ 1 w 299"/>
                  <a:gd name="T73" fmla="*/ 9 h 219"/>
                  <a:gd name="T74" fmla="*/ 0 w 299"/>
                  <a:gd name="T75" fmla="*/ 4 h 219"/>
                  <a:gd name="T76" fmla="*/ 1 w 299"/>
                  <a:gd name="T77" fmla="*/ 9 h 219"/>
                  <a:gd name="T78" fmla="*/ 0 w 299"/>
                  <a:gd name="T79" fmla="*/ 4 h 219"/>
                  <a:gd name="T80" fmla="*/ 0 w 299"/>
                  <a:gd name="T81" fmla="*/ 2 h 219"/>
                  <a:gd name="T82" fmla="*/ 0 w 299"/>
                  <a:gd name="T83" fmla="*/ 4 h 219"/>
                  <a:gd name="T84" fmla="*/ 0 w 299"/>
                  <a:gd name="T85" fmla="*/ 2 h 219"/>
                  <a:gd name="T86" fmla="*/ 0 w 299"/>
                  <a:gd name="T87" fmla="*/ 1 h 219"/>
                  <a:gd name="T88" fmla="*/ 0 w 299"/>
                  <a:gd name="T89" fmla="*/ 2 h 219"/>
                  <a:gd name="T90" fmla="*/ 0 w 299"/>
                  <a:gd name="T91" fmla="*/ 1 h 219"/>
                  <a:gd name="T92" fmla="*/ 0 w 299"/>
                  <a:gd name="T93" fmla="*/ 1 h 219"/>
                  <a:gd name="T94" fmla="*/ 0 w 299"/>
                  <a:gd name="T95" fmla="*/ 1 h 219"/>
                  <a:gd name="T96" fmla="*/ 0 w 299"/>
                  <a:gd name="T97" fmla="*/ 1 h 219"/>
                  <a:gd name="T98" fmla="*/ 0 w 299"/>
                  <a:gd name="T99" fmla="*/ 0 h 219"/>
                  <a:gd name="T100" fmla="*/ 0 w 299"/>
                  <a:gd name="T101" fmla="*/ 0 h 219"/>
                  <a:gd name="T102" fmla="*/ 0 w 299"/>
                  <a:gd name="T103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9" h="219">
                    <a:moveTo>
                      <a:pt x="249" y="219"/>
                    </a:moveTo>
                    <a:cubicBezTo>
                      <a:pt x="249" y="219"/>
                      <a:pt x="249" y="219"/>
                      <a:pt x="249" y="219"/>
                    </a:cubicBezTo>
                    <a:cubicBezTo>
                      <a:pt x="249" y="219"/>
                      <a:pt x="249" y="219"/>
                      <a:pt x="249" y="219"/>
                    </a:cubicBezTo>
                    <a:cubicBezTo>
                      <a:pt x="249" y="219"/>
                      <a:pt x="249" y="219"/>
                      <a:pt x="249" y="219"/>
                    </a:cubicBezTo>
                    <a:moveTo>
                      <a:pt x="294" y="215"/>
                    </a:moveTo>
                    <a:cubicBezTo>
                      <a:pt x="293" y="215"/>
                      <a:pt x="293" y="215"/>
                      <a:pt x="293" y="215"/>
                    </a:cubicBezTo>
                    <a:cubicBezTo>
                      <a:pt x="293" y="215"/>
                      <a:pt x="293" y="215"/>
                      <a:pt x="294" y="215"/>
                    </a:cubicBezTo>
                    <a:moveTo>
                      <a:pt x="294" y="215"/>
                    </a:moveTo>
                    <a:cubicBezTo>
                      <a:pt x="294" y="215"/>
                      <a:pt x="294" y="215"/>
                      <a:pt x="294" y="215"/>
                    </a:cubicBezTo>
                    <a:cubicBezTo>
                      <a:pt x="294" y="215"/>
                      <a:pt x="294" y="215"/>
                      <a:pt x="294" y="215"/>
                    </a:cubicBezTo>
                    <a:moveTo>
                      <a:pt x="295" y="214"/>
                    </a:moveTo>
                    <a:cubicBezTo>
                      <a:pt x="295" y="214"/>
                      <a:pt x="295" y="214"/>
                      <a:pt x="295" y="215"/>
                    </a:cubicBezTo>
                    <a:cubicBezTo>
                      <a:pt x="295" y="214"/>
                      <a:pt x="295" y="214"/>
                      <a:pt x="295" y="214"/>
                    </a:cubicBezTo>
                    <a:moveTo>
                      <a:pt x="296" y="214"/>
                    </a:moveTo>
                    <a:cubicBezTo>
                      <a:pt x="296" y="214"/>
                      <a:pt x="296" y="214"/>
                      <a:pt x="296" y="214"/>
                    </a:cubicBezTo>
                    <a:cubicBezTo>
                      <a:pt x="296" y="214"/>
                      <a:pt x="296" y="214"/>
                      <a:pt x="296" y="214"/>
                    </a:cubicBezTo>
                    <a:moveTo>
                      <a:pt x="297" y="214"/>
                    </a:moveTo>
                    <a:cubicBezTo>
                      <a:pt x="297" y="214"/>
                      <a:pt x="297" y="214"/>
                      <a:pt x="297" y="214"/>
                    </a:cubicBezTo>
                    <a:cubicBezTo>
                      <a:pt x="297" y="214"/>
                      <a:pt x="297" y="214"/>
                      <a:pt x="297" y="214"/>
                    </a:cubicBezTo>
                    <a:moveTo>
                      <a:pt x="297" y="214"/>
                    </a:moveTo>
                    <a:cubicBezTo>
                      <a:pt x="297" y="214"/>
                      <a:pt x="297" y="214"/>
                      <a:pt x="297" y="214"/>
                    </a:cubicBezTo>
                    <a:cubicBezTo>
                      <a:pt x="297" y="214"/>
                      <a:pt x="297" y="214"/>
                      <a:pt x="297" y="214"/>
                    </a:cubicBezTo>
                    <a:moveTo>
                      <a:pt x="298" y="214"/>
                    </a:moveTo>
                    <a:cubicBezTo>
                      <a:pt x="298" y="214"/>
                      <a:pt x="298" y="214"/>
                      <a:pt x="298" y="214"/>
                    </a:cubicBezTo>
                    <a:cubicBezTo>
                      <a:pt x="298" y="214"/>
                      <a:pt x="298" y="214"/>
                      <a:pt x="298" y="214"/>
                    </a:cubicBezTo>
                    <a:moveTo>
                      <a:pt x="299" y="214"/>
                    </a:moveTo>
                    <a:cubicBezTo>
                      <a:pt x="299" y="214"/>
                      <a:pt x="299" y="214"/>
                      <a:pt x="299" y="214"/>
                    </a:cubicBezTo>
                    <a:cubicBezTo>
                      <a:pt x="299" y="214"/>
                      <a:pt x="299" y="214"/>
                      <a:pt x="299" y="214"/>
                    </a:cubicBezTo>
                    <a:moveTo>
                      <a:pt x="2" y="14"/>
                    </a:moveTo>
                    <a:cubicBezTo>
                      <a:pt x="25" y="134"/>
                      <a:pt x="130" y="219"/>
                      <a:pt x="249" y="219"/>
                    </a:cubicBezTo>
                    <a:cubicBezTo>
                      <a:pt x="130" y="219"/>
                      <a:pt x="25" y="134"/>
                      <a:pt x="2" y="14"/>
                    </a:cubicBezTo>
                    <a:moveTo>
                      <a:pt x="2" y="11"/>
                    </a:moveTo>
                    <a:cubicBezTo>
                      <a:pt x="2" y="11"/>
                      <a:pt x="2" y="12"/>
                      <a:pt x="2" y="12"/>
                    </a:cubicBezTo>
                    <a:cubicBezTo>
                      <a:pt x="2" y="12"/>
                      <a:pt x="2" y="11"/>
                      <a:pt x="2" y="11"/>
                    </a:cubicBezTo>
                    <a:moveTo>
                      <a:pt x="1" y="9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9"/>
                    </a:cubicBezTo>
                    <a:moveTo>
                      <a:pt x="0" y="4"/>
                    </a:moveTo>
                    <a:cubicBezTo>
                      <a:pt x="1" y="5"/>
                      <a:pt x="1" y="7"/>
                      <a:pt x="1" y="9"/>
                    </a:cubicBezTo>
                    <a:cubicBezTo>
                      <a:pt x="1" y="7"/>
                      <a:pt x="1" y="5"/>
                      <a:pt x="0" y="4"/>
                    </a:cubicBezTo>
                    <a:moveTo>
                      <a:pt x="0" y="2"/>
                    </a:moveTo>
                    <a:cubicBezTo>
                      <a:pt x="0" y="3"/>
                      <a:pt x="0" y="3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moveTo>
                      <a:pt x="0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9AE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4" name="Freeform 3197"/>
              <p:cNvSpPr>
                <a:spLocks noEditPoints="1"/>
              </p:cNvSpPr>
              <p:nvPr userDrawn="1"/>
            </p:nvSpPr>
            <p:spPr bwMode="auto">
              <a:xfrm>
                <a:off x="5217633" y="783941"/>
                <a:ext cx="835964" cy="614916"/>
              </a:xfrm>
              <a:custGeom>
                <a:avLst/>
                <a:gdLst>
                  <a:gd name="T0" fmla="*/ 362 w 456"/>
                  <a:gd name="T1" fmla="*/ 267 h 336"/>
                  <a:gd name="T2" fmla="*/ 397 w 456"/>
                  <a:gd name="T3" fmla="*/ 291 h 336"/>
                  <a:gd name="T4" fmla="*/ 44 w 456"/>
                  <a:gd name="T5" fmla="*/ 200 h 336"/>
                  <a:gd name="T6" fmla="*/ 364 w 456"/>
                  <a:gd name="T7" fmla="*/ 310 h 336"/>
                  <a:gd name="T8" fmla="*/ 334 w 456"/>
                  <a:gd name="T9" fmla="*/ 271 h 336"/>
                  <a:gd name="T10" fmla="*/ 152 w 456"/>
                  <a:gd name="T11" fmla="*/ 225 h 336"/>
                  <a:gd name="T12" fmla="*/ 7 w 456"/>
                  <a:gd name="T13" fmla="*/ 33 h 336"/>
                  <a:gd name="T14" fmla="*/ 4 w 456"/>
                  <a:gd name="T15" fmla="*/ 117 h 336"/>
                  <a:gd name="T16" fmla="*/ 4 w 456"/>
                  <a:gd name="T17" fmla="*/ 118 h 336"/>
                  <a:gd name="T18" fmla="*/ 4 w 456"/>
                  <a:gd name="T19" fmla="*/ 119 h 336"/>
                  <a:gd name="T20" fmla="*/ 4 w 456"/>
                  <a:gd name="T21" fmla="*/ 121 h 336"/>
                  <a:gd name="T22" fmla="*/ 5 w 456"/>
                  <a:gd name="T23" fmla="*/ 126 h 336"/>
                  <a:gd name="T24" fmla="*/ 5 w 456"/>
                  <a:gd name="T25" fmla="*/ 127 h 336"/>
                  <a:gd name="T26" fmla="*/ 6 w 456"/>
                  <a:gd name="T27" fmla="*/ 128 h 336"/>
                  <a:gd name="T28" fmla="*/ 6 w 456"/>
                  <a:gd name="T29" fmla="*/ 131 h 336"/>
                  <a:gd name="T30" fmla="*/ 253 w 456"/>
                  <a:gd name="T31" fmla="*/ 336 h 336"/>
                  <a:gd name="T32" fmla="*/ 297 w 456"/>
                  <a:gd name="T33" fmla="*/ 332 h 336"/>
                  <a:gd name="T34" fmla="*/ 298 w 456"/>
                  <a:gd name="T35" fmla="*/ 332 h 336"/>
                  <a:gd name="T36" fmla="*/ 298 w 456"/>
                  <a:gd name="T37" fmla="*/ 332 h 336"/>
                  <a:gd name="T38" fmla="*/ 299 w 456"/>
                  <a:gd name="T39" fmla="*/ 331 h 336"/>
                  <a:gd name="T40" fmla="*/ 300 w 456"/>
                  <a:gd name="T41" fmla="*/ 331 h 336"/>
                  <a:gd name="T42" fmla="*/ 301 w 456"/>
                  <a:gd name="T43" fmla="*/ 331 h 336"/>
                  <a:gd name="T44" fmla="*/ 301 w 456"/>
                  <a:gd name="T45" fmla="*/ 331 h 336"/>
                  <a:gd name="T46" fmla="*/ 302 w 456"/>
                  <a:gd name="T47" fmla="*/ 331 h 336"/>
                  <a:gd name="T48" fmla="*/ 303 w 456"/>
                  <a:gd name="T49" fmla="*/ 331 h 336"/>
                  <a:gd name="T50" fmla="*/ 35 w 456"/>
                  <a:gd name="T51" fmla="*/ 208 h 336"/>
                  <a:gd name="T52" fmla="*/ 113 w 456"/>
                  <a:gd name="T53" fmla="*/ 192 h 336"/>
                  <a:gd name="T54" fmla="*/ 55 w 456"/>
                  <a:gd name="T55" fmla="*/ 123 h 336"/>
                  <a:gd name="T56" fmla="*/ 49 w 456"/>
                  <a:gd name="T57" fmla="*/ 113 h 336"/>
                  <a:gd name="T58" fmla="*/ 32 w 456"/>
                  <a:gd name="T59" fmla="*/ 103 h 336"/>
                  <a:gd name="T60" fmla="*/ 22 w 456"/>
                  <a:gd name="T61" fmla="*/ 37 h 336"/>
                  <a:gd name="T62" fmla="*/ 16 w 456"/>
                  <a:gd name="T63" fmla="*/ 0 h 336"/>
                  <a:gd name="T64" fmla="*/ 17 w 456"/>
                  <a:gd name="T65" fmla="*/ 9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6" h="336">
                    <a:moveTo>
                      <a:pt x="456" y="234"/>
                    </a:moveTo>
                    <a:cubicBezTo>
                      <a:pt x="427" y="250"/>
                      <a:pt x="395" y="261"/>
                      <a:pt x="362" y="267"/>
                    </a:cubicBezTo>
                    <a:cubicBezTo>
                      <a:pt x="359" y="268"/>
                      <a:pt x="356" y="268"/>
                      <a:pt x="353" y="269"/>
                    </a:cubicBezTo>
                    <a:cubicBezTo>
                      <a:pt x="368" y="275"/>
                      <a:pt x="382" y="283"/>
                      <a:pt x="397" y="291"/>
                    </a:cubicBezTo>
                    <a:cubicBezTo>
                      <a:pt x="419" y="275"/>
                      <a:pt x="439" y="256"/>
                      <a:pt x="456" y="234"/>
                    </a:cubicBezTo>
                    <a:moveTo>
                      <a:pt x="44" y="200"/>
                    </a:moveTo>
                    <a:cubicBezTo>
                      <a:pt x="90" y="237"/>
                      <a:pt x="157" y="254"/>
                      <a:pt x="209" y="269"/>
                    </a:cubicBezTo>
                    <a:cubicBezTo>
                      <a:pt x="260" y="283"/>
                      <a:pt x="314" y="293"/>
                      <a:pt x="364" y="310"/>
                    </a:cubicBezTo>
                    <a:cubicBezTo>
                      <a:pt x="374" y="305"/>
                      <a:pt x="383" y="300"/>
                      <a:pt x="392" y="294"/>
                    </a:cubicBezTo>
                    <a:cubicBezTo>
                      <a:pt x="373" y="285"/>
                      <a:pt x="354" y="278"/>
                      <a:pt x="334" y="271"/>
                    </a:cubicBezTo>
                    <a:cubicBezTo>
                      <a:pt x="326" y="271"/>
                      <a:pt x="319" y="272"/>
                      <a:pt x="311" y="272"/>
                    </a:cubicBezTo>
                    <a:cubicBezTo>
                      <a:pt x="255" y="272"/>
                      <a:pt x="200" y="256"/>
                      <a:pt x="152" y="225"/>
                    </a:cubicBezTo>
                    <a:cubicBezTo>
                      <a:pt x="116" y="218"/>
                      <a:pt x="79" y="211"/>
                      <a:pt x="44" y="200"/>
                    </a:cubicBezTo>
                    <a:moveTo>
                      <a:pt x="7" y="33"/>
                    </a:moveTo>
                    <a:cubicBezTo>
                      <a:pt x="1" y="60"/>
                      <a:pt x="0" y="88"/>
                      <a:pt x="4" y="117"/>
                    </a:cubicBezTo>
                    <a:cubicBezTo>
                      <a:pt x="4" y="117"/>
                      <a:pt x="4" y="117"/>
                      <a:pt x="4" y="117"/>
                    </a:cubicBezTo>
                    <a:cubicBezTo>
                      <a:pt x="4" y="117"/>
                      <a:pt x="4" y="117"/>
                      <a:pt x="4" y="118"/>
                    </a:cubicBezTo>
                    <a:cubicBezTo>
                      <a:pt x="4" y="118"/>
                      <a:pt x="4" y="118"/>
                      <a:pt x="4" y="118"/>
                    </a:cubicBezTo>
                    <a:cubicBezTo>
                      <a:pt x="4" y="118"/>
                      <a:pt x="4" y="118"/>
                      <a:pt x="4" y="118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4" y="119"/>
                      <a:pt x="4" y="119"/>
                      <a:pt x="4" y="119"/>
                    </a:cubicBezTo>
                    <a:cubicBezTo>
                      <a:pt x="4" y="120"/>
                      <a:pt x="4" y="120"/>
                      <a:pt x="4" y="121"/>
                    </a:cubicBezTo>
                    <a:cubicBezTo>
                      <a:pt x="4" y="121"/>
                      <a:pt x="4" y="121"/>
                      <a:pt x="4" y="121"/>
                    </a:cubicBezTo>
                    <a:cubicBezTo>
                      <a:pt x="5" y="122"/>
                      <a:pt x="5" y="124"/>
                      <a:pt x="5" y="126"/>
                    </a:cubicBezTo>
                    <a:cubicBezTo>
                      <a:pt x="5" y="126"/>
                      <a:pt x="5" y="126"/>
                      <a:pt x="5" y="126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6" y="127"/>
                      <a:pt x="6" y="128"/>
                      <a:pt x="6" y="128"/>
                    </a:cubicBezTo>
                    <a:cubicBezTo>
                      <a:pt x="6" y="128"/>
                      <a:pt x="6" y="129"/>
                      <a:pt x="6" y="129"/>
                    </a:cubicBezTo>
                    <a:cubicBezTo>
                      <a:pt x="6" y="130"/>
                      <a:pt x="6" y="130"/>
                      <a:pt x="6" y="131"/>
                    </a:cubicBezTo>
                    <a:cubicBezTo>
                      <a:pt x="29" y="251"/>
                      <a:pt x="134" y="336"/>
                      <a:pt x="253" y="336"/>
                    </a:cubicBezTo>
                    <a:cubicBezTo>
                      <a:pt x="253" y="336"/>
                      <a:pt x="253" y="336"/>
                      <a:pt x="253" y="336"/>
                    </a:cubicBezTo>
                    <a:cubicBezTo>
                      <a:pt x="253" y="336"/>
                      <a:pt x="253" y="336"/>
                      <a:pt x="253" y="336"/>
                    </a:cubicBezTo>
                    <a:cubicBezTo>
                      <a:pt x="268" y="336"/>
                      <a:pt x="282" y="334"/>
                      <a:pt x="297" y="332"/>
                    </a:cubicBezTo>
                    <a:cubicBezTo>
                      <a:pt x="297" y="332"/>
                      <a:pt x="297" y="332"/>
                      <a:pt x="297" y="332"/>
                    </a:cubicBezTo>
                    <a:cubicBezTo>
                      <a:pt x="297" y="332"/>
                      <a:pt x="297" y="332"/>
                      <a:pt x="298" y="332"/>
                    </a:cubicBezTo>
                    <a:cubicBezTo>
                      <a:pt x="298" y="332"/>
                      <a:pt x="298" y="332"/>
                      <a:pt x="298" y="332"/>
                    </a:cubicBezTo>
                    <a:cubicBezTo>
                      <a:pt x="298" y="332"/>
                      <a:pt x="298" y="332"/>
                      <a:pt x="298" y="332"/>
                    </a:cubicBezTo>
                    <a:cubicBezTo>
                      <a:pt x="299" y="332"/>
                      <a:pt x="299" y="332"/>
                      <a:pt x="299" y="332"/>
                    </a:cubicBezTo>
                    <a:cubicBezTo>
                      <a:pt x="299" y="331"/>
                      <a:pt x="299" y="331"/>
                      <a:pt x="299" y="331"/>
                    </a:cubicBezTo>
                    <a:cubicBezTo>
                      <a:pt x="299" y="331"/>
                      <a:pt x="300" y="331"/>
                      <a:pt x="300" y="331"/>
                    </a:cubicBezTo>
                    <a:cubicBezTo>
                      <a:pt x="300" y="331"/>
                      <a:pt x="300" y="331"/>
                      <a:pt x="300" y="331"/>
                    </a:cubicBezTo>
                    <a:cubicBezTo>
                      <a:pt x="300" y="331"/>
                      <a:pt x="300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1" y="331"/>
                      <a:pt x="301" y="331"/>
                      <a:pt x="301" y="331"/>
                    </a:cubicBezTo>
                    <a:cubicBezTo>
                      <a:pt x="302" y="331"/>
                      <a:pt x="302" y="331"/>
                      <a:pt x="302" y="331"/>
                    </a:cubicBezTo>
                    <a:cubicBezTo>
                      <a:pt x="302" y="331"/>
                      <a:pt x="302" y="331"/>
                      <a:pt x="302" y="331"/>
                    </a:cubicBezTo>
                    <a:cubicBezTo>
                      <a:pt x="302" y="331"/>
                      <a:pt x="303" y="331"/>
                      <a:pt x="303" y="331"/>
                    </a:cubicBezTo>
                    <a:cubicBezTo>
                      <a:pt x="303" y="331"/>
                      <a:pt x="303" y="331"/>
                      <a:pt x="303" y="331"/>
                    </a:cubicBezTo>
                    <a:cubicBezTo>
                      <a:pt x="313" y="329"/>
                      <a:pt x="323" y="326"/>
                      <a:pt x="333" y="323"/>
                    </a:cubicBezTo>
                    <a:cubicBezTo>
                      <a:pt x="229" y="293"/>
                      <a:pt x="123" y="269"/>
                      <a:pt x="35" y="208"/>
                    </a:cubicBezTo>
                    <a:cubicBezTo>
                      <a:pt x="27" y="196"/>
                      <a:pt x="21" y="182"/>
                      <a:pt x="16" y="168"/>
                    </a:cubicBezTo>
                    <a:cubicBezTo>
                      <a:pt x="48" y="175"/>
                      <a:pt x="81" y="183"/>
                      <a:pt x="113" y="192"/>
                    </a:cubicBezTo>
                    <a:cubicBezTo>
                      <a:pt x="104" y="183"/>
                      <a:pt x="95" y="175"/>
                      <a:pt x="86" y="167"/>
                    </a:cubicBezTo>
                    <a:cubicBezTo>
                      <a:pt x="74" y="153"/>
                      <a:pt x="64" y="138"/>
                      <a:pt x="55" y="123"/>
                    </a:cubicBezTo>
                    <a:cubicBezTo>
                      <a:pt x="54" y="123"/>
                      <a:pt x="54" y="123"/>
                      <a:pt x="53" y="123"/>
                    </a:cubicBezTo>
                    <a:cubicBezTo>
                      <a:pt x="49" y="121"/>
                      <a:pt x="48" y="117"/>
                      <a:pt x="49" y="113"/>
                    </a:cubicBezTo>
                    <a:cubicBezTo>
                      <a:pt x="48" y="111"/>
                      <a:pt x="47" y="109"/>
                      <a:pt x="47" y="108"/>
                    </a:cubicBezTo>
                    <a:cubicBezTo>
                      <a:pt x="42" y="106"/>
                      <a:pt x="37" y="104"/>
                      <a:pt x="32" y="103"/>
                    </a:cubicBezTo>
                    <a:cubicBezTo>
                      <a:pt x="21" y="99"/>
                      <a:pt x="25" y="83"/>
                      <a:pt x="35" y="82"/>
                    </a:cubicBezTo>
                    <a:cubicBezTo>
                      <a:pt x="30" y="68"/>
                      <a:pt x="25" y="53"/>
                      <a:pt x="22" y="37"/>
                    </a:cubicBezTo>
                    <a:cubicBezTo>
                      <a:pt x="17" y="36"/>
                      <a:pt x="12" y="35"/>
                      <a:pt x="7" y="33"/>
                    </a:cubicBezTo>
                    <a:moveTo>
                      <a:pt x="16" y="0"/>
                    </a:moveTo>
                    <a:cubicBezTo>
                      <a:pt x="15" y="3"/>
                      <a:pt x="14" y="5"/>
                      <a:pt x="13" y="8"/>
                    </a:cubicBezTo>
                    <a:cubicBezTo>
                      <a:pt x="15" y="8"/>
                      <a:pt x="16" y="8"/>
                      <a:pt x="17" y="9"/>
                    </a:cubicBezTo>
                    <a:cubicBezTo>
                      <a:pt x="17" y="6"/>
                      <a:pt x="16" y="3"/>
                      <a:pt x="16" y="0"/>
                    </a:cubicBezTo>
                  </a:path>
                </a:pathLst>
              </a:custGeom>
              <a:solidFill>
                <a:srgbClr val="ADA4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5" name="Freeform 3198"/>
              <p:cNvSpPr/>
              <p:nvPr userDrawn="1"/>
            </p:nvSpPr>
            <p:spPr bwMode="auto">
              <a:xfrm>
                <a:off x="5231030" y="798677"/>
                <a:ext cx="26794" cy="52248"/>
              </a:xfrm>
              <a:custGeom>
                <a:avLst/>
                <a:gdLst>
                  <a:gd name="T0" fmla="*/ 6 w 15"/>
                  <a:gd name="T1" fmla="*/ 0 h 29"/>
                  <a:gd name="T2" fmla="*/ 0 w 15"/>
                  <a:gd name="T3" fmla="*/ 25 h 29"/>
                  <a:gd name="T4" fmla="*/ 15 w 15"/>
                  <a:gd name="T5" fmla="*/ 29 h 29"/>
                  <a:gd name="T6" fmla="*/ 13 w 15"/>
                  <a:gd name="T7" fmla="*/ 19 h 29"/>
                  <a:gd name="T8" fmla="*/ 12 w 15"/>
                  <a:gd name="T9" fmla="*/ 15 h 29"/>
                  <a:gd name="T10" fmla="*/ 10 w 15"/>
                  <a:gd name="T11" fmla="*/ 1 h 29"/>
                  <a:gd name="T12" fmla="*/ 6 w 1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29">
                    <a:moveTo>
                      <a:pt x="6" y="0"/>
                    </a:moveTo>
                    <a:cubicBezTo>
                      <a:pt x="4" y="8"/>
                      <a:pt x="2" y="17"/>
                      <a:pt x="0" y="25"/>
                    </a:cubicBezTo>
                    <a:cubicBezTo>
                      <a:pt x="5" y="27"/>
                      <a:pt x="10" y="28"/>
                      <a:pt x="15" y="29"/>
                    </a:cubicBezTo>
                    <a:cubicBezTo>
                      <a:pt x="14" y="26"/>
                      <a:pt x="14" y="22"/>
                      <a:pt x="13" y="19"/>
                    </a:cubicBezTo>
                    <a:cubicBezTo>
                      <a:pt x="13" y="18"/>
                      <a:pt x="12" y="16"/>
                      <a:pt x="12" y="15"/>
                    </a:cubicBezTo>
                    <a:cubicBezTo>
                      <a:pt x="11" y="10"/>
                      <a:pt x="11" y="5"/>
                      <a:pt x="10" y="1"/>
                    </a:cubicBezTo>
                    <a:cubicBezTo>
                      <a:pt x="9" y="0"/>
                      <a:pt x="8" y="0"/>
                      <a:pt x="6" y="0"/>
                    </a:cubicBezTo>
                  </a:path>
                </a:pathLst>
              </a:custGeom>
              <a:solidFill>
                <a:srgbClr val="AA8E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6" name="Freeform 3199"/>
              <p:cNvSpPr/>
              <p:nvPr userDrawn="1"/>
            </p:nvSpPr>
            <p:spPr bwMode="auto">
              <a:xfrm>
                <a:off x="5256484" y="933985"/>
                <a:ext cx="48229" cy="46889"/>
              </a:xfrm>
              <a:custGeom>
                <a:avLst/>
                <a:gdLst>
                  <a:gd name="T0" fmla="*/ 14 w 26"/>
                  <a:gd name="T1" fmla="*/ 0 h 26"/>
                  <a:gd name="T2" fmla="*/ 11 w 26"/>
                  <a:gd name="T3" fmla="*/ 21 h 26"/>
                  <a:gd name="T4" fmla="*/ 26 w 26"/>
                  <a:gd name="T5" fmla="*/ 26 h 26"/>
                  <a:gd name="T6" fmla="*/ 14 w 26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cubicBezTo>
                      <a:pt x="4" y="1"/>
                      <a:pt x="0" y="17"/>
                      <a:pt x="11" y="21"/>
                    </a:cubicBezTo>
                    <a:cubicBezTo>
                      <a:pt x="16" y="22"/>
                      <a:pt x="21" y="24"/>
                      <a:pt x="26" y="26"/>
                    </a:cubicBezTo>
                    <a:cubicBezTo>
                      <a:pt x="21" y="17"/>
                      <a:pt x="18" y="9"/>
                      <a:pt x="14" y="0"/>
                    </a:cubicBezTo>
                  </a:path>
                </a:pathLst>
              </a:custGeom>
              <a:solidFill>
                <a:srgbClr val="AA8E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7" name="Freeform 3200"/>
              <p:cNvSpPr/>
              <p:nvPr userDrawn="1"/>
            </p:nvSpPr>
            <p:spPr bwMode="auto">
              <a:xfrm>
                <a:off x="5306053" y="990252"/>
                <a:ext cx="13397" cy="18756"/>
              </a:xfrm>
              <a:custGeom>
                <a:avLst/>
                <a:gdLst>
                  <a:gd name="T0" fmla="*/ 1 w 7"/>
                  <a:gd name="T1" fmla="*/ 0 h 10"/>
                  <a:gd name="T2" fmla="*/ 5 w 7"/>
                  <a:gd name="T3" fmla="*/ 10 h 10"/>
                  <a:gd name="T4" fmla="*/ 7 w 7"/>
                  <a:gd name="T5" fmla="*/ 10 h 10"/>
                  <a:gd name="T6" fmla="*/ 1 w 7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0">
                    <a:moveTo>
                      <a:pt x="1" y="0"/>
                    </a:moveTo>
                    <a:cubicBezTo>
                      <a:pt x="0" y="4"/>
                      <a:pt x="1" y="8"/>
                      <a:pt x="5" y="10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5" y="7"/>
                      <a:pt x="3" y="3"/>
                      <a:pt x="1" y="0"/>
                    </a:cubicBezTo>
                  </a:path>
                </a:pathLst>
              </a:custGeom>
              <a:solidFill>
                <a:srgbClr val="B09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8" name="Freeform 3201"/>
              <p:cNvSpPr>
                <a:spLocks noEditPoints="1"/>
              </p:cNvSpPr>
              <p:nvPr userDrawn="1"/>
            </p:nvSpPr>
            <p:spPr bwMode="auto">
              <a:xfrm>
                <a:off x="5247106" y="1090729"/>
                <a:ext cx="699316" cy="284013"/>
              </a:xfrm>
              <a:custGeom>
                <a:avLst/>
                <a:gdLst>
                  <a:gd name="T0" fmla="*/ 337 w 381"/>
                  <a:gd name="T1" fmla="*/ 101 h 155"/>
                  <a:gd name="T2" fmla="*/ 318 w 381"/>
                  <a:gd name="T3" fmla="*/ 103 h 155"/>
                  <a:gd name="T4" fmla="*/ 376 w 381"/>
                  <a:gd name="T5" fmla="*/ 126 h 155"/>
                  <a:gd name="T6" fmla="*/ 381 w 381"/>
                  <a:gd name="T7" fmla="*/ 123 h 155"/>
                  <a:gd name="T8" fmla="*/ 337 w 381"/>
                  <a:gd name="T9" fmla="*/ 101 h 155"/>
                  <a:gd name="T10" fmla="*/ 0 w 381"/>
                  <a:gd name="T11" fmla="*/ 0 h 155"/>
                  <a:gd name="T12" fmla="*/ 19 w 381"/>
                  <a:gd name="T13" fmla="*/ 40 h 155"/>
                  <a:gd name="T14" fmla="*/ 317 w 381"/>
                  <a:gd name="T15" fmla="*/ 155 h 155"/>
                  <a:gd name="T16" fmla="*/ 348 w 381"/>
                  <a:gd name="T17" fmla="*/ 142 h 155"/>
                  <a:gd name="T18" fmla="*/ 193 w 381"/>
                  <a:gd name="T19" fmla="*/ 101 h 155"/>
                  <a:gd name="T20" fmla="*/ 28 w 381"/>
                  <a:gd name="T21" fmla="*/ 32 h 155"/>
                  <a:gd name="T22" fmla="*/ 136 w 381"/>
                  <a:gd name="T23" fmla="*/ 57 h 155"/>
                  <a:gd name="T24" fmla="*/ 125 w 381"/>
                  <a:gd name="T25" fmla="*/ 50 h 155"/>
                  <a:gd name="T26" fmla="*/ 97 w 381"/>
                  <a:gd name="T27" fmla="*/ 24 h 155"/>
                  <a:gd name="T28" fmla="*/ 0 w 381"/>
                  <a:gd name="T29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1" h="155">
                    <a:moveTo>
                      <a:pt x="337" y="101"/>
                    </a:moveTo>
                    <a:cubicBezTo>
                      <a:pt x="331" y="102"/>
                      <a:pt x="324" y="102"/>
                      <a:pt x="318" y="103"/>
                    </a:cubicBezTo>
                    <a:cubicBezTo>
                      <a:pt x="338" y="110"/>
                      <a:pt x="357" y="117"/>
                      <a:pt x="376" y="126"/>
                    </a:cubicBezTo>
                    <a:cubicBezTo>
                      <a:pt x="378" y="125"/>
                      <a:pt x="379" y="124"/>
                      <a:pt x="381" y="123"/>
                    </a:cubicBezTo>
                    <a:cubicBezTo>
                      <a:pt x="366" y="115"/>
                      <a:pt x="352" y="107"/>
                      <a:pt x="337" y="101"/>
                    </a:cubicBezTo>
                    <a:moveTo>
                      <a:pt x="0" y="0"/>
                    </a:moveTo>
                    <a:cubicBezTo>
                      <a:pt x="5" y="14"/>
                      <a:pt x="11" y="28"/>
                      <a:pt x="19" y="40"/>
                    </a:cubicBezTo>
                    <a:cubicBezTo>
                      <a:pt x="107" y="101"/>
                      <a:pt x="213" y="125"/>
                      <a:pt x="317" y="155"/>
                    </a:cubicBezTo>
                    <a:cubicBezTo>
                      <a:pt x="328" y="151"/>
                      <a:pt x="338" y="147"/>
                      <a:pt x="348" y="142"/>
                    </a:cubicBezTo>
                    <a:cubicBezTo>
                      <a:pt x="298" y="125"/>
                      <a:pt x="244" y="115"/>
                      <a:pt x="193" y="101"/>
                    </a:cubicBezTo>
                    <a:cubicBezTo>
                      <a:pt x="141" y="86"/>
                      <a:pt x="74" y="69"/>
                      <a:pt x="28" y="32"/>
                    </a:cubicBezTo>
                    <a:cubicBezTo>
                      <a:pt x="63" y="43"/>
                      <a:pt x="100" y="50"/>
                      <a:pt x="136" y="57"/>
                    </a:cubicBezTo>
                    <a:cubicBezTo>
                      <a:pt x="132" y="55"/>
                      <a:pt x="129" y="52"/>
                      <a:pt x="125" y="50"/>
                    </a:cubicBezTo>
                    <a:cubicBezTo>
                      <a:pt x="116" y="41"/>
                      <a:pt x="106" y="32"/>
                      <a:pt x="97" y="24"/>
                    </a:cubicBezTo>
                    <a:cubicBezTo>
                      <a:pt x="65" y="15"/>
                      <a:pt x="32" y="7"/>
                      <a:pt x="0" y="0"/>
                    </a:cubicBezTo>
                  </a:path>
                </a:pathLst>
              </a:custGeom>
              <a:solidFill>
                <a:srgbClr val="A296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9" name="Oval 3202"/>
              <p:cNvSpPr>
                <a:spLocks noChangeArrowheads="1"/>
              </p:cNvSpPr>
              <p:nvPr userDrawn="1"/>
            </p:nvSpPr>
            <p:spPr bwMode="auto">
              <a:xfrm>
                <a:off x="693514" y="613800"/>
                <a:ext cx="499703" cy="497023"/>
              </a:xfrm>
              <a:prstGeom prst="ellipse">
                <a:avLst/>
              </a:prstGeom>
              <a:solidFill>
                <a:srgbClr val="86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0" name="Freeform 3203"/>
              <p:cNvSpPr/>
              <p:nvPr userDrawn="1"/>
            </p:nvSpPr>
            <p:spPr bwMode="auto">
              <a:xfrm>
                <a:off x="693514" y="774563"/>
                <a:ext cx="405925" cy="336261"/>
              </a:xfrm>
              <a:custGeom>
                <a:avLst/>
                <a:gdLst>
                  <a:gd name="T0" fmla="*/ 8 w 221"/>
                  <a:gd name="T1" fmla="*/ 0 h 184"/>
                  <a:gd name="T2" fmla="*/ 176 w 221"/>
                  <a:gd name="T3" fmla="*/ 161 h 184"/>
                  <a:gd name="T4" fmla="*/ 221 w 221"/>
                  <a:gd name="T5" fmla="*/ 154 h 184"/>
                  <a:gd name="T6" fmla="*/ 136 w 221"/>
                  <a:gd name="T7" fmla="*/ 184 h 184"/>
                  <a:gd name="T8" fmla="*/ 0 w 221"/>
                  <a:gd name="T9" fmla="*/ 48 h 184"/>
                  <a:gd name="T10" fmla="*/ 8 w 221"/>
                  <a:gd name="T1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1" h="184">
                    <a:moveTo>
                      <a:pt x="8" y="0"/>
                    </a:moveTo>
                    <a:cubicBezTo>
                      <a:pt x="13" y="88"/>
                      <a:pt x="87" y="161"/>
                      <a:pt x="176" y="161"/>
                    </a:cubicBezTo>
                    <a:cubicBezTo>
                      <a:pt x="192" y="161"/>
                      <a:pt x="207" y="159"/>
                      <a:pt x="221" y="154"/>
                    </a:cubicBezTo>
                    <a:cubicBezTo>
                      <a:pt x="198" y="173"/>
                      <a:pt x="168" y="184"/>
                      <a:pt x="136" y="184"/>
                    </a:cubicBezTo>
                    <a:cubicBezTo>
                      <a:pt x="61" y="184"/>
                      <a:pt x="0" y="123"/>
                      <a:pt x="0" y="48"/>
                    </a:cubicBezTo>
                    <a:cubicBezTo>
                      <a:pt x="0" y="31"/>
                      <a:pt x="3" y="15"/>
                      <a:pt x="8" y="0"/>
                    </a:cubicBezTo>
                    <a:close/>
                  </a:path>
                </a:pathLst>
              </a:custGeom>
              <a:solidFill>
                <a:srgbClr val="6595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1" name="Oval 3204"/>
              <p:cNvSpPr>
                <a:spLocks noChangeArrowheads="1"/>
              </p:cNvSpPr>
              <p:nvPr userDrawn="1"/>
            </p:nvSpPr>
            <p:spPr bwMode="auto">
              <a:xfrm>
                <a:off x="7023530" y="587007"/>
                <a:ext cx="271956" cy="271956"/>
              </a:xfrm>
              <a:prstGeom prst="ellipse">
                <a:avLst/>
              </a:prstGeom>
              <a:solidFill>
                <a:srgbClr val="2A4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2" name="Freeform 3205"/>
              <p:cNvSpPr/>
              <p:nvPr userDrawn="1"/>
            </p:nvSpPr>
            <p:spPr bwMode="auto">
              <a:xfrm>
                <a:off x="7059701" y="625858"/>
                <a:ext cx="235785" cy="97797"/>
              </a:xfrm>
              <a:custGeom>
                <a:avLst/>
                <a:gdLst>
                  <a:gd name="T0" fmla="*/ 2 w 128"/>
                  <a:gd name="T1" fmla="*/ 0 h 53"/>
                  <a:gd name="T2" fmla="*/ 0 w 128"/>
                  <a:gd name="T3" fmla="*/ 2 h 53"/>
                  <a:gd name="T4" fmla="*/ 128 w 128"/>
                  <a:gd name="T5" fmla="*/ 53 h 53"/>
                  <a:gd name="T6" fmla="*/ 128 w 128"/>
                  <a:gd name="T7" fmla="*/ 53 h 53"/>
                  <a:gd name="T8" fmla="*/ 128 w 128"/>
                  <a:gd name="T9" fmla="*/ 51 h 53"/>
                  <a:gd name="T10" fmla="*/ 2 w 128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53">
                    <a:moveTo>
                      <a:pt x="2" y="0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39" y="28"/>
                      <a:pt x="82" y="46"/>
                      <a:pt x="128" y="53"/>
                    </a:cubicBezTo>
                    <a:cubicBezTo>
                      <a:pt x="128" y="53"/>
                      <a:pt x="128" y="53"/>
                      <a:pt x="128" y="53"/>
                    </a:cubicBezTo>
                    <a:cubicBezTo>
                      <a:pt x="128" y="52"/>
                      <a:pt x="128" y="52"/>
                      <a:pt x="128" y="51"/>
                    </a:cubicBezTo>
                    <a:cubicBezTo>
                      <a:pt x="83" y="43"/>
                      <a:pt x="41" y="24"/>
                      <a:pt x="2" y="0"/>
                    </a:cubicBezTo>
                  </a:path>
                </a:pathLst>
              </a:custGeom>
              <a:solidFill>
                <a:srgbClr val="223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3" name="Freeform 3206"/>
              <p:cNvSpPr/>
              <p:nvPr userDrawn="1"/>
            </p:nvSpPr>
            <p:spPr bwMode="auto">
              <a:xfrm>
                <a:off x="7034247" y="680785"/>
                <a:ext cx="222388" cy="91099"/>
              </a:xfrm>
              <a:custGeom>
                <a:avLst/>
                <a:gdLst>
                  <a:gd name="T0" fmla="*/ 3 w 121"/>
                  <a:gd name="T1" fmla="*/ 0 h 50"/>
                  <a:gd name="T2" fmla="*/ 2 w 121"/>
                  <a:gd name="T3" fmla="*/ 5 h 50"/>
                  <a:gd name="T4" fmla="*/ 119 w 121"/>
                  <a:gd name="T5" fmla="*/ 50 h 50"/>
                  <a:gd name="T6" fmla="*/ 119 w 121"/>
                  <a:gd name="T7" fmla="*/ 50 h 50"/>
                  <a:gd name="T8" fmla="*/ 120 w 121"/>
                  <a:gd name="T9" fmla="*/ 48 h 50"/>
                  <a:gd name="T10" fmla="*/ 5 w 121"/>
                  <a:gd name="T11" fmla="*/ 0 h 50"/>
                  <a:gd name="T12" fmla="*/ 3 w 121"/>
                  <a:gd name="T13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50">
                    <a:moveTo>
                      <a:pt x="3" y="0"/>
                    </a:moveTo>
                    <a:cubicBezTo>
                      <a:pt x="1" y="0"/>
                      <a:pt x="0" y="3"/>
                      <a:pt x="2" y="5"/>
                    </a:cubicBezTo>
                    <a:cubicBezTo>
                      <a:pt x="38" y="25"/>
                      <a:pt x="78" y="43"/>
                      <a:pt x="119" y="50"/>
                    </a:cubicBezTo>
                    <a:cubicBezTo>
                      <a:pt x="119" y="50"/>
                      <a:pt x="119" y="50"/>
                      <a:pt x="119" y="50"/>
                    </a:cubicBezTo>
                    <a:cubicBezTo>
                      <a:pt x="120" y="50"/>
                      <a:pt x="121" y="48"/>
                      <a:pt x="120" y="48"/>
                    </a:cubicBezTo>
                    <a:cubicBezTo>
                      <a:pt x="79" y="38"/>
                      <a:pt x="42" y="18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223E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4" name="Freeform 3207"/>
              <p:cNvSpPr/>
              <p:nvPr userDrawn="1"/>
            </p:nvSpPr>
            <p:spPr bwMode="auto">
              <a:xfrm>
                <a:off x="7136064" y="628537"/>
                <a:ext cx="152724" cy="56267"/>
              </a:xfrm>
              <a:custGeom>
                <a:avLst/>
                <a:gdLst>
                  <a:gd name="T0" fmla="*/ 2 w 84"/>
                  <a:gd name="T1" fmla="*/ 0 h 31"/>
                  <a:gd name="T2" fmla="*/ 2 w 84"/>
                  <a:gd name="T3" fmla="*/ 4 h 31"/>
                  <a:gd name="T4" fmla="*/ 84 w 84"/>
                  <a:gd name="T5" fmla="*/ 31 h 31"/>
                  <a:gd name="T6" fmla="*/ 83 w 84"/>
                  <a:gd name="T7" fmla="*/ 29 h 31"/>
                  <a:gd name="T8" fmla="*/ 3 w 84"/>
                  <a:gd name="T9" fmla="*/ 1 h 31"/>
                  <a:gd name="T10" fmla="*/ 2 w 84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1">
                    <a:moveTo>
                      <a:pt x="2" y="0"/>
                    </a:moveTo>
                    <a:cubicBezTo>
                      <a:pt x="0" y="0"/>
                      <a:pt x="0" y="3"/>
                      <a:pt x="2" y="4"/>
                    </a:cubicBezTo>
                    <a:cubicBezTo>
                      <a:pt x="28" y="16"/>
                      <a:pt x="55" y="27"/>
                      <a:pt x="84" y="31"/>
                    </a:cubicBezTo>
                    <a:cubicBezTo>
                      <a:pt x="84" y="31"/>
                      <a:pt x="83" y="30"/>
                      <a:pt x="83" y="29"/>
                    </a:cubicBezTo>
                    <a:cubicBezTo>
                      <a:pt x="55" y="23"/>
                      <a:pt x="30" y="1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5" name="Freeform 3208"/>
              <p:cNvSpPr/>
              <p:nvPr userDrawn="1"/>
            </p:nvSpPr>
            <p:spPr bwMode="auto">
              <a:xfrm>
                <a:off x="7086495" y="671407"/>
                <a:ext cx="208991" cy="64305"/>
              </a:xfrm>
              <a:custGeom>
                <a:avLst/>
                <a:gdLst>
                  <a:gd name="T0" fmla="*/ 2 w 114"/>
                  <a:gd name="T1" fmla="*/ 0 h 35"/>
                  <a:gd name="T2" fmla="*/ 2 w 114"/>
                  <a:gd name="T3" fmla="*/ 3 h 35"/>
                  <a:gd name="T4" fmla="*/ 114 w 114"/>
                  <a:gd name="T5" fmla="*/ 35 h 35"/>
                  <a:gd name="T6" fmla="*/ 114 w 114"/>
                  <a:gd name="T7" fmla="*/ 34 h 35"/>
                  <a:gd name="T8" fmla="*/ 3 w 114"/>
                  <a:gd name="T9" fmla="*/ 0 h 35"/>
                  <a:gd name="T10" fmla="*/ 2 w 114"/>
                  <a:gd name="T1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35">
                    <a:moveTo>
                      <a:pt x="2" y="0"/>
                    </a:moveTo>
                    <a:cubicBezTo>
                      <a:pt x="1" y="0"/>
                      <a:pt x="0" y="2"/>
                      <a:pt x="2" y="3"/>
                    </a:cubicBezTo>
                    <a:cubicBezTo>
                      <a:pt x="36" y="19"/>
                      <a:pt x="74" y="35"/>
                      <a:pt x="114" y="35"/>
                    </a:cubicBezTo>
                    <a:cubicBezTo>
                      <a:pt x="114" y="35"/>
                      <a:pt x="114" y="34"/>
                      <a:pt x="114" y="34"/>
                    </a:cubicBezTo>
                    <a:cubicBezTo>
                      <a:pt x="75" y="33"/>
                      <a:pt x="38" y="16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6" name="Freeform 3209"/>
              <p:cNvSpPr/>
              <p:nvPr userDrawn="1"/>
            </p:nvSpPr>
            <p:spPr bwMode="auto">
              <a:xfrm>
                <a:off x="7023530" y="716956"/>
                <a:ext cx="168800" cy="69664"/>
              </a:xfrm>
              <a:custGeom>
                <a:avLst/>
                <a:gdLst>
                  <a:gd name="T0" fmla="*/ 0 w 92"/>
                  <a:gd name="T1" fmla="*/ 0 h 38"/>
                  <a:gd name="T2" fmla="*/ 0 w 92"/>
                  <a:gd name="T3" fmla="*/ 3 h 38"/>
                  <a:gd name="T4" fmla="*/ 0 w 92"/>
                  <a:gd name="T5" fmla="*/ 4 h 38"/>
                  <a:gd name="T6" fmla="*/ 90 w 92"/>
                  <a:gd name="T7" fmla="*/ 38 h 38"/>
                  <a:gd name="T8" fmla="*/ 90 w 92"/>
                  <a:gd name="T9" fmla="*/ 38 h 38"/>
                  <a:gd name="T10" fmla="*/ 91 w 92"/>
                  <a:gd name="T11" fmla="*/ 36 h 38"/>
                  <a:gd name="T12" fmla="*/ 0 w 92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8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28" y="19"/>
                      <a:pt x="58" y="32"/>
                      <a:pt x="90" y="38"/>
                    </a:cubicBezTo>
                    <a:cubicBezTo>
                      <a:pt x="90" y="38"/>
                      <a:pt x="90" y="38"/>
                      <a:pt x="90" y="38"/>
                    </a:cubicBezTo>
                    <a:cubicBezTo>
                      <a:pt x="92" y="38"/>
                      <a:pt x="92" y="36"/>
                      <a:pt x="91" y="36"/>
                    </a:cubicBezTo>
                    <a:cubicBezTo>
                      <a:pt x="59" y="28"/>
                      <a:pt x="29" y="15"/>
                      <a:pt x="0" y="0"/>
                    </a:cubicBezTo>
                  </a:path>
                </a:pathLst>
              </a:custGeom>
              <a:solidFill>
                <a:srgbClr val="4C69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7" name="Freeform 3210"/>
              <p:cNvSpPr/>
              <p:nvPr userDrawn="1"/>
            </p:nvSpPr>
            <p:spPr bwMode="auto">
              <a:xfrm>
                <a:off x="7023530" y="662029"/>
                <a:ext cx="223728" cy="196934"/>
              </a:xfrm>
              <a:custGeom>
                <a:avLst/>
                <a:gdLst>
                  <a:gd name="T0" fmla="*/ 8 w 122"/>
                  <a:gd name="T1" fmla="*/ 0 h 107"/>
                  <a:gd name="T2" fmla="*/ 8 w 122"/>
                  <a:gd name="T3" fmla="*/ 3 h 107"/>
                  <a:gd name="T4" fmla="*/ 97 w 122"/>
                  <a:gd name="T5" fmla="*/ 93 h 107"/>
                  <a:gd name="T6" fmla="*/ 122 w 122"/>
                  <a:gd name="T7" fmla="*/ 89 h 107"/>
                  <a:gd name="T8" fmla="*/ 74 w 122"/>
                  <a:gd name="T9" fmla="*/ 107 h 107"/>
                  <a:gd name="T10" fmla="*/ 0 w 122"/>
                  <a:gd name="T11" fmla="*/ 33 h 107"/>
                  <a:gd name="T12" fmla="*/ 8 w 122"/>
                  <a:gd name="T13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07">
                    <a:moveTo>
                      <a:pt x="8" y="0"/>
                    </a:moveTo>
                    <a:cubicBezTo>
                      <a:pt x="8" y="1"/>
                      <a:pt x="8" y="2"/>
                      <a:pt x="8" y="3"/>
                    </a:cubicBezTo>
                    <a:cubicBezTo>
                      <a:pt x="8" y="52"/>
                      <a:pt x="48" y="93"/>
                      <a:pt x="97" y="93"/>
                    </a:cubicBezTo>
                    <a:cubicBezTo>
                      <a:pt x="106" y="93"/>
                      <a:pt x="114" y="91"/>
                      <a:pt x="122" y="89"/>
                    </a:cubicBezTo>
                    <a:cubicBezTo>
                      <a:pt x="109" y="100"/>
                      <a:pt x="92" y="107"/>
                      <a:pt x="74" y="107"/>
                    </a:cubicBezTo>
                    <a:cubicBezTo>
                      <a:pt x="33" y="107"/>
                      <a:pt x="0" y="74"/>
                      <a:pt x="0" y="33"/>
                    </a:cubicBezTo>
                    <a:cubicBezTo>
                      <a:pt x="0" y="21"/>
                      <a:pt x="3" y="10"/>
                      <a:pt x="8" y="0"/>
                    </a:cubicBezTo>
                    <a:close/>
                  </a:path>
                </a:pathLst>
              </a:custGeom>
              <a:solidFill>
                <a:srgbClr val="203A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8" name="Freeform 3212"/>
              <p:cNvSpPr/>
              <p:nvPr userDrawn="1"/>
            </p:nvSpPr>
            <p:spPr bwMode="auto">
              <a:xfrm>
                <a:off x="6505071" y="1749854"/>
                <a:ext cx="146026" cy="137988"/>
              </a:xfrm>
              <a:custGeom>
                <a:avLst/>
                <a:gdLst>
                  <a:gd name="T0" fmla="*/ 55 w 109"/>
                  <a:gd name="T1" fmla="*/ 0 h 103"/>
                  <a:gd name="T2" fmla="*/ 68 w 109"/>
                  <a:gd name="T3" fmla="*/ 40 h 103"/>
                  <a:gd name="T4" fmla="*/ 109 w 109"/>
                  <a:gd name="T5" fmla="*/ 40 h 103"/>
                  <a:gd name="T6" fmla="*/ 76 w 109"/>
                  <a:gd name="T7" fmla="*/ 63 h 103"/>
                  <a:gd name="T8" fmla="*/ 89 w 109"/>
                  <a:gd name="T9" fmla="*/ 103 h 103"/>
                  <a:gd name="T10" fmla="*/ 55 w 109"/>
                  <a:gd name="T11" fmla="*/ 78 h 103"/>
                  <a:gd name="T12" fmla="*/ 22 w 109"/>
                  <a:gd name="T13" fmla="*/ 103 h 103"/>
                  <a:gd name="T14" fmla="*/ 34 w 109"/>
                  <a:gd name="T15" fmla="*/ 63 h 103"/>
                  <a:gd name="T16" fmla="*/ 0 w 109"/>
                  <a:gd name="T17" fmla="*/ 40 h 103"/>
                  <a:gd name="T18" fmla="*/ 42 w 109"/>
                  <a:gd name="T19" fmla="*/ 40 h 103"/>
                  <a:gd name="T20" fmla="*/ 55 w 109"/>
                  <a:gd name="T2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3">
                    <a:moveTo>
                      <a:pt x="55" y="0"/>
                    </a:moveTo>
                    <a:lnTo>
                      <a:pt x="68" y="40"/>
                    </a:lnTo>
                    <a:lnTo>
                      <a:pt x="109" y="40"/>
                    </a:lnTo>
                    <a:lnTo>
                      <a:pt x="76" y="63"/>
                    </a:lnTo>
                    <a:lnTo>
                      <a:pt x="89" y="103"/>
                    </a:lnTo>
                    <a:lnTo>
                      <a:pt x="55" y="78"/>
                    </a:lnTo>
                    <a:lnTo>
                      <a:pt x="22" y="103"/>
                    </a:lnTo>
                    <a:lnTo>
                      <a:pt x="34" y="63"/>
                    </a:lnTo>
                    <a:lnTo>
                      <a:pt x="0" y="40"/>
                    </a:lnTo>
                    <a:lnTo>
                      <a:pt x="42" y="40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9" name="Freeform 3213"/>
              <p:cNvSpPr/>
              <p:nvPr userDrawn="1"/>
            </p:nvSpPr>
            <p:spPr bwMode="auto">
              <a:xfrm>
                <a:off x="4259758" y="347203"/>
                <a:ext cx="146026" cy="142007"/>
              </a:xfrm>
              <a:custGeom>
                <a:avLst/>
                <a:gdLst>
                  <a:gd name="T0" fmla="*/ 54 w 109"/>
                  <a:gd name="T1" fmla="*/ 0 h 106"/>
                  <a:gd name="T2" fmla="*/ 68 w 109"/>
                  <a:gd name="T3" fmla="*/ 41 h 106"/>
                  <a:gd name="T4" fmla="*/ 109 w 109"/>
                  <a:gd name="T5" fmla="*/ 41 h 106"/>
                  <a:gd name="T6" fmla="*/ 76 w 109"/>
                  <a:gd name="T7" fmla="*/ 66 h 106"/>
                  <a:gd name="T8" fmla="*/ 89 w 109"/>
                  <a:gd name="T9" fmla="*/ 106 h 106"/>
                  <a:gd name="T10" fmla="*/ 54 w 109"/>
                  <a:gd name="T11" fmla="*/ 81 h 106"/>
                  <a:gd name="T12" fmla="*/ 20 w 109"/>
                  <a:gd name="T13" fmla="*/ 106 h 106"/>
                  <a:gd name="T14" fmla="*/ 34 w 109"/>
                  <a:gd name="T15" fmla="*/ 66 h 106"/>
                  <a:gd name="T16" fmla="*/ 0 w 109"/>
                  <a:gd name="T17" fmla="*/ 41 h 106"/>
                  <a:gd name="T18" fmla="*/ 42 w 109"/>
                  <a:gd name="T19" fmla="*/ 41 h 106"/>
                  <a:gd name="T20" fmla="*/ 54 w 109"/>
                  <a:gd name="T21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6">
                    <a:moveTo>
                      <a:pt x="54" y="0"/>
                    </a:moveTo>
                    <a:lnTo>
                      <a:pt x="68" y="41"/>
                    </a:lnTo>
                    <a:lnTo>
                      <a:pt x="109" y="41"/>
                    </a:lnTo>
                    <a:lnTo>
                      <a:pt x="76" y="66"/>
                    </a:lnTo>
                    <a:lnTo>
                      <a:pt x="89" y="106"/>
                    </a:lnTo>
                    <a:lnTo>
                      <a:pt x="54" y="81"/>
                    </a:lnTo>
                    <a:lnTo>
                      <a:pt x="20" y="106"/>
                    </a:lnTo>
                    <a:lnTo>
                      <a:pt x="34" y="66"/>
                    </a:lnTo>
                    <a:lnTo>
                      <a:pt x="0" y="41"/>
                    </a:lnTo>
                    <a:lnTo>
                      <a:pt x="42" y="4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0" name="Freeform 3214"/>
              <p:cNvSpPr/>
              <p:nvPr userDrawn="1"/>
            </p:nvSpPr>
            <p:spPr bwMode="auto">
              <a:xfrm>
                <a:off x="4259758" y="2774714"/>
                <a:ext cx="146026" cy="140667"/>
              </a:xfrm>
              <a:custGeom>
                <a:avLst/>
                <a:gdLst>
                  <a:gd name="T0" fmla="*/ 54 w 109"/>
                  <a:gd name="T1" fmla="*/ 0 h 105"/>
                  <a:gd name="T2" fmla="*/ 68 w 109"/>
                  <a:gd name="T3" fmla="*/ 39 h 105"/>
                  <a:gd name="T4" fmla="*/ 109 w 109"/>
                  <a:gd name="T5" fmla="*/ 39 h 105"/>
                  <a:gd name="T6" fmla="*/ 76 w 109"/>
                  <a:gd name="T7" fmla="*/ 64 h 105"/>
                  <a:gd name="T8" fmla="*/ 89 w 109"/>
                  <a:gd name="T9" fmla="*/ 105 h 105"/>
                  <a:gd name="T10" fmla="*/ 54 w 109"/>
                  <a:gd name="T11" fmla="*/ 80 h 105"/>
                  <a:gd name="T12" fmla="*/ 20 w 109"/>
                  <a:gd name="T13" fmla="*/ 105 h 105"/>
                  <a:gd name="T14" fmla="*/ 34 w 109"/>
                  <a:gd name="T15" fmla="*/ 64 h 105"/>
                  <a:gd name="T16" fmla="*/ 0 w 109"/>
                  <a:gd name="T17" fmla="*/ 39 h 105"/>
                  <a:gd name="T18" fmla="*/ 42 w 109"/>
                  <a:gd name="T19" fmla="*/ 39 h 105"/>
                  <a:gd name="T20" fmla="*/ 54 w 109"/>
                  <a:gd name="T21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05">
                    <a:moveTo>
                      <a:pt x="54" y="0"/>
                    </a:moveTo>
                    <a:lnTo>
                      <a:pt x="68" y="39"/>
                    </a:lnTo>
                    <a:lnTo>
                      <a:pt x="109" y="39"/>
                    </a:lnTo>
                    <a:lnTo>
                      <a:pt x="76" y="64"/>
                    </a:lnTo>
                    <a:lnTo>
                      <a:pt x="89" y="105"/>
                    </a:lnTo>
                    <a:lnTo>
                      <a:pt x="54" y="80"/>
                    </a:lnTo>
                    <a:lnTo>
                      <a:pt x="20" y="105"/>
                    </a:lnTo>
                    <a:lnTo>
                      <a:pt x="34" y="64"/>
                    </a:lnTo>
                    <a:lnTo>
                      <a:pt x="0" y="39"/>
                    </a:lnTo>
                    <a:lnTo>
                      <a:pt x="42" y="39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C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1" name="Freeform 3220"/>
              <p:cNvSpPr/>
              <p:nvPr userDrawn="1"/>
            </p:nvSpPr>
            <p:spPr bwMode="auto">
              <a:xfrm>
                <a:off x="7465626" y="1847651"/>
                <a:ext cx="120572" cy="121911"/>
              </a:xfrm>
              <a:custGeom>
                <a:avLst/>
                <a:gdLst>
                  <a:gd name="T0" fmla="*/ 38 w 90"/>
                  <a:gd name="T1" fmla="*/ 40 h 91"/>
                  <a:gd name="T2" fmla="*/ 45 w 90"/>
                  <a:gd name="T3" fmla="*/ 0 h 91"/>
                  <a:gd name="T4" fmla="*/ 50 w 90"/>
                  <a:gd name="T5" fmla="*/ 40 h 91"/>
                  <a:gd name="T6" fmla="*/ 90 w 90"/>
                  <a:gd name="T7" fmla="*/ 46 h 91"/>
                  <a:gd name="T8" fmla="*/ 50 w 90"/>
                  <a:gd name="T9" fmla="*/ 52 h 91"/>
                  <a:gd name="T10" fmla="*/ 45 w 90"/>
                  <a:gd name="T11" fmla="*/ 91 h 91"/>
                  <a:gd name="T12" fmla="*/ 38 w 90"/>
                  <a:gd name="T13" fmla="*/ 52 h 91"/>
                  <a:gd name="T14" fmla="*/ 0 w 90"/>
                  <a:gd name="T15" fmla="*/ 45 h 91"/>
                  <a:gd name="T16" fmla="*/ 38 w 90"/>
                  <a:gd name="T17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1">
                    <a:moveTo>
                      <a:pt x="38" y="40"/>
                    </a:moveTo>
                    <a:lnTo>
                      <a:pt x="45" y="0"/>
                    </a:lnTo>
                    <a:lnTo>
                      <a:pt x="50" y="40"/>
                    </a:lnTo>
                    <a:lnTo>
                      <a:pt x="90" y="46"/>
                    </a:lnTo>
                    <a:lnTo>
                      <a:pt x="50" y="52"/>
                    </a:lnTo>
                    <a:lnTo>
                      <a:pt x="45" y="91"/>
                    </a:lnTo>
                    <a:lnTo>
                      <a:pt x="38" y="52"/>
                    </a:lnTo>
                    <a:lnTo>
                      <a:pt x="0" y="45"/>
                    </a:lnTo>
                    <a:lnTo>
                      <a:pt x="38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2" name="Freeform 3221"/>
              <p:cNvSpPr/>
              <p:nvPr userDrawn="1"/>
            </p:nvSpPr>
            <p:spPr bwMode="auto">
              <a:xfrm>
                <a:off x="6389858" y="2904"/>
                <a:ext cx="120572" cy="121911"/>
              </a:xfrm>
              <a:custGeom>
                <a:avLst/>
                <a:gdLst>
                  <a:gd name="T0" fmla="*/ 39 w 90"/>
                  <a:gd name="T1" fmla="*/ 39 h 91"/>
                  <a:gd name="T2" fmla="*/ 46 w 90"/>
                  <a:gd name="T3" fmla="*/ 0 h 91"/>
                  <a:gd name="T4" fmla="*/ 52 w 90"/>
                  <a:gd name="T5" fmla="*/ 39 h 91"/>
                  <a:gd name="T6" fmla="*/ 90 w 90"/>
                  <a:gd name="T7" fmla="*/ 45 h 91"/>
                  <a:gd name="T8" fmla="*/ 52 w 90"/>
                  <a:gd name="T9" fmla="*/ 51 h 91"/>
                  <a:gd name="T10" fmla="*/ 45 w 90"/>
                  <a:gd name="T11" fmla="*/ 91 h 91"/>
                  <a:gd name="T12" fmla="*/ 39 w 90"/>
                  <a:gd name="T13" fmla="*/ 51 h 91"/>
                  <a:gd name="T14" fmla="*/ 0 w 90"/>
                  <a:gd name="T15" fmla="*/ 44 h 91"/>
                  <a:gd name="T16" fmla="*/ 39 w 90"/>
                  <a:gd name="T17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1">
                    <a:moveTo>
                      <a:pt x="39" y="39"/>
                    </a:moveTo>
                    <a:lnTo>
                      <a:pt x="46" y="0"/>
                    </a:lnTo>
                    <a:lnTo>
                      <a:pt x="52" y="39"/>
                    </a:lnTo>
                    <a:lnTo>
                      <a:pt x="90" y="45"/>
                    </a:lnTo>
                    <a:lnTo>
                      <a:pt x="52" y="51"/>
                    </a:lnTo>
                    <a:lnTo>
                      <a:pt x="45" y="91"/>
                    </a:lnTo>
                    <a:lnTo>
                      <a:pt x="39" y="51"/>
                    </a:lnTo>
                    <a:lnTo>
                      <a:pt x="0" y="44"/>
                    </a:lnTo>
                    <a:lnTo>
                      <a:pt x="3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3" name="Freeform 3222"/>
              <p:cNvSpPr/>
              <p:nvPr userDrawn="1"/>
            </p:nvSpPr>
            <p:spPr bwMode="auto">
              <a:xfrm>
                <a:off x="6818558" y="3511541"/>
                <a:ext cx="120572" cy="123251"/>
              </a:xfrm>
              <a:custGeom>
                <a:avLst/>
                <a:gdLst>
                  <a:gd name="T0" fmla="*/ 38 w 90"/>
                  <a:gd name="T1" fmla="*/ 40 h 92"/>
                  <a:gd name="T2" fmla="*/ 45 w 90"/>
                  <a:gd name="T3" fmla="*/ 0 h 92"/>
                  <a:gd name="T4" fmla="*/ 50 w 90"/>
                  <a:gd name="T5" fmla="*/ 40 h 92"/>
                  <a:gd name="T6" fmla="*/ 90 w 90"/>
                  <a:gd name="T7" fmla="*/ 47 h 92"/>
                  <a:gd name="T8" fmla="*/ 50 w 90"/>
                  <a:gd name="T9" fmla="*/ 52 h 92"/>
                  <a:gd name="T10" fmla="*/ 45 w 90"/>
                  <a:gd name="T11" fmla="*/ 92 h 92"/>
                  <a:gd name="T12" fmla="*/ 38 w 90"/>
                  <a:gd name="T13" fmla="*/ 52 h 92"/>
                  <a:gd name="T14" fmla="*/ 0 w 90"/>
                  <a:gd name="T15" fmla="*/ 46 h 92"/>
                  <a:gd name="T16" fmla="*/ 38 w 90"/>
                  <a:gd name="T17" fmla="*/ 4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2">
                    <a:moveTo>
                      <a:pt x="38" y="40"/>
                    </a:moveTo>
                    <a:lnTo>
                      <a:pt x="45" y="0"/>
                    </a:lnTo>
                    <a:lnTo>
                      <a:pt x="50" y="40"/>
                    </a:lnTo>
                    <a:lnTo>
                      <a:pt x="90" y="47"/>
                    </a:lnTo>
                    <a:lnTo>
                      <a:pt x="50" y="52"/>
                    </a:lnTo>
                    <a:lnTo>
                      <a:pt x="45" y="92"/>
                    </a:lnTo>
                    <a:lnTo>
                      <a:pt x="38" y="52"/>
                    </a:lnTo>
                    <a:lnTo>
                      <a:pt x="0" y="46"/>
                    </a:lnTo>
                    <a:lnTo>
                      <a:pt x="38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4" name="Freeform 3223"/>
              <p:cNvSpPr/>
              <p:nvPr userDrawn="1"/>
            </p:nvSpPr>
            <p:spPr bwMode="auto">
              <a:xfrm>
                <a:off x="5035436" y="1543542"/>
                <a:ext cx="120572" cy="120572"/>
              </a:xfrm>
              <a:custGeom>
                <a:avLst/>
                <a:gdLst>
                  <a:gd name="T0" fmla="*/ 39 w 90"/>
                  <a:gd name="T1" fmla="*/ 38 h 90"/>
                  <a:gd name="T2" fmla="*/ 45 w 90"/>
                  <a:gd name="T3" fmla="*/ 0 h 90"/>
                  <a:gd name="T4" fmla="*/ 51 w 90"/>
                  <a:gd name="T5" fmla="*/ 40 h 90"/>
                  <a:gd name="T6" fmla="*/ 90 w 90"/>
                  <a:gd name="T7" fmla="*/ 45 h 90"/>
                  <a:gd name="T8" fmla="*/ 51 w 90"/>
                  <a:gd name="T9" fmla="*/ 51 h 90"/>
                  <a:gd name="T10" fmla="*/ 45 w 90"/>
                  <a:gd name="T11" fmla="*/ 90 h 90"/>
                  <a:gd name="T12" fmla="*/ 39 w 90"/>
                  <a:gd name="T13" fmla="*/ 51 h 90"/>
                  <a:gd name="T14" fmla="*/ 0 w 90"/>
                  <a:gd name="T15" fmla="*/ 45 h 90"/>
                  <a:gd name="T16" fmla="*/ 39 w 90"/>
                  <a:gd name="T17" fmla="*/ 3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0">
                    <a:moveTo>
                      <a:pt x="39" y="38"/>
                    </a:moveTo>
                    <a:lnTo>
                      <a:pt x="45" y="0"/>
                    </a:lnTo>
                    <a:lnTo>
                      <a:pt x="51" y="40"/>
                    </a:lnTo>
                    <a:lnTo>
                      <a:pt x="90" y="45"/>
                    </a:lnTo>
                    <a:lnTo>
                      <a:pt x="51" y="51"/>
                    </a:lnTo>
                    <a:lnTo>
                      <a:pt x="45" y="90"/>
                    </a:lnTo>
                    <a:lnTo>
                      <a:pt x="39" y="51"/>
                    </a:lnTo>
                    <a:lnTo>
                      <a:pt x="0" y="45"/>
                    </a:lnTo>
                    <a:lnTo>
                      <a:pt x="3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5" name="Freeform 3224"/>
              <p:cNvSpPr/>
              <p:nvPr userDrawn="1"/>
            </p:nvSpPr>
            <p:spPr bwMode="auto">
              <a:xfrm>
                <a:off x="5401170" y="1633301"/>
                <a:ext cx="251861" cy="250521"/>
              </a:xfrm>
              <a:custGeom>
                <a:avLst/>
                <a:gdLst>
                  <a:gd name="T0" fmla="*/ 81 w 188"/>
                  <a:gd name="T1" fmla="*/ 81 h 187"/>
                  <a:gd name="T2" fmla="*/ 95 w 188"/>
                  <a:gd name="T3" fmla="*/ 0 h 187"/>
                  <a:gd name="T4" fmla="*/ 107 w 188"/>
                  <a:gd name="T5" fmla="*/ 81 h 187"/>
                  <a:gd name="T6" fmla="*/ 188 w 188"/>
                  <a:gd name="T7" fmla="*/ 94 h 187"/>
                  <a:gd name="T8" fmla="*/ 107 w 188"/>
                  <a:gd name="T9" fmla="*/ 107 h 187"/>
                  <a:gd name="T10" fmla="*/ 93 w 188"/>
                  <a:gd name="T11" fmla="*/ 187 h 187"/>
                  <a:gd name="T12" fmla="*/ 81 w 188"/>
                  <a:gd name="T13" fmla="*/ 107 h 187"/>
                  <a:gd name="T14" fmla="*/ 0 w 188"/>
                  <a:gd name="T15" fmla="*/ 93 h 187"/>
                  <a:gd name="T16" fmla="*/ 81 w 188"/>
                  <a:gd name="T17" fmla="*/ 81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87">
                    <a:moveTo>
                      <a:pt x="81" y="81"/>
                    </a:moveTo>
                    <a:lnTo>
                      <a:pt x="95" y="0"/>
                    </a:lnTo>
                    <a:lnTo>
                      <a:pt x="107" y="81"/>
                    </a:lnTo>
                    <a:lnTo>
                      <a:pt x="188" y="94"/>
                    </a:lnTo>
                    <a:lnTo>
                      <a:pt x="107" y="107"/>
                    </a:lnTo>
                    <a:lnTo>
                      <a:pt x="93" y="187"/>
                    </a:lnTo>
                    <a:lnTo>
                      <a:pt x="81" y="107"/>
                    </a:lnTo>
                    <a:lnTo>
                      <a:pt x="0" y="93"/>
                    </a:lnTo>
                    <a:lnTo>
                      <a:pt x="81" y="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6" name="Oval 3225"/>
              <p:cNvSpPr>
                <a:spLocks noChangeArrowheads="1"/>
              </p:cNvSpPr>
              <p:nvPr userDrawn="1"/>
            </p:nvSpPr>
            <p:spPr bwMode="auto">
              <a:xfrm>
                <a:off x="5217633" y="2506777"/>
                <a:ext cx="57606" cy="56267"/>
              </a:xfrm>
              <a:prstGeom prst="ellipse">
                <a:avLst/>
              </a:prstGeom>
              <a:solidFill>
                <a:srgbClr val="347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7" name="Oval 3229"/>
              <p:cNvSpPr>
                <a:spLocks noChangeArrowheads="1"/>
              </p:cNvSpPr>
              <p:nvPr userDrawn="1"/>
            </p:nvSpPr>
            <p:spPr bwMode="auto">
              <a:xfrm>
                <a:off x="6845352" y="2268312"/>
                <a:ext cx="57606" cy="57606"/>
              </a:xfrm>
              <a:prstGeom prst="ellipse">
                <a:avLst/>
              </a:prstGeom>
              <a:solidFill>
                <a:srgbClr val="347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</p:grpSp>
      <p:grpSp>
        <p:nvGrpSpPr>
          <p:cNvPr id="88" name="组合 87"/>
          <p:cNvGrpSpPr/>
          <p:nvPr userDrawn="1"/>
        </p:nvGrpSpPr>
        <p:grpSpPr>
          <a:xfrm flipH="1">
            <a:off x="6832" y="2112196"/>
            <a:ext cx="4729188" cy="4740092"/>
            <a:chOff x="7469645" y="2112196"/>
            <a:chExt cx="4729188" cy="4740092"/>
          </a:xfrm>
        </p:grpSpPr>
        <p:sp>
          <p:nvSpPr>
            <p:cNvPr id="89" name="Oval 3154"/>
            <p:cNvSpPr>
              <a:spLocks noChangeArrowheads="1"/>
            </p:cNvSpPr>
            <p:nvPr userDrawn="1"/>
          </p:nvSpPr>
          <p:spPr bwMode="auto">
            <a:xfrm>
              <a:off x="7469645" y="5041462"/>
              <a:ext cx="521138" cy="521138"/>
            </a:xfrm>
            <a:prstGeom prst="ellipse">
              <a:avLst/>
            </a:prstGeom>
            <a:solidFill>
              <a:srgbClr val="D35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Freeform 3155"/>
            <p:cNvSpPr>
              <a:spLocks noEditPoints="1"/>
            </p:cNvSpPr>
            <p:nvPr userDrawn="1"/>
          </p:nvSpPr>
          <p:spPr bwMode="auto">
            <a:xfrm>
              <a:off x="7793849" y="5237056"/>
              <a:ext cx="184877" cy="207651"/>
            </a:xfrm>
            <a:custGeom>
              <a:avLst/>
              <a:gdLst>
                <a:gd name="T0" fmla="*/ 76 w 101"/>
                <a:gd name="T1" fmla="*/ 95 h 113"/>
                <a:gd name="T2" fmla="*/ 71 w 101"/>
                <a:gd name="T3" fmla="*/ 89 h 113"/>
                <a:gd name="T4" fmla="*/ 67 w 101"/>
                <a:gd name="T5" fmla="*/ 82 h 113"/>
                <a:gd name="T6" fmla="*/ 71 w 101"/>
                <a:gd name="T7" fmla="*/ 88 h 113"/>
                <a:gd name="T8" fmla="*/ 76 w 101"/>
                <a:gd name="T9" fmla="*/ 95 h 113"/>
                <a:gd name="T10" fmla="*/ 36 w 101"/>
                <a:gd name="T11" fmla="*/ 16 h 113"/>
                <a:gd name="T12" fmla="*/ 44 w 101"/>
                <a:gd name="T13" fmla="*/ 13 h 113"/>
                <a:gd name="T14" fmla="*/ 49 w 101"/>
                <a:gd name="T15" fmla="*/ 14 h 113"/>
                <a:gd name="T16" fmla="*/ 56 w 101"/>
                <a:gd name="T17" fmla="*/ 22 h 113"/>
                <a:gd name="T18" fmla="*/ 58 w 101"/>
                <a:gd name="T19" fmla="*/ 26 h 113"/>
                <a:gd name="T20" fmla="*/ 58 w 101"/>
                <a:gd name="T21" fmla="*/ 29 h 113"/>
                <a:gd name="T22" fmla="*/ 58 w 101"/>
                <a:gd name="T23" fmla="*/ 30 h 113"/>
                <a:gd name="T24" fmla="*/ 58 w 101"/>
                <a:gd name="T25" fmla="*/ 35 h 113"/>
                <a:gd name="T26" fmla="*/ 56 w 101"/>
                <a:gd name="T27" fmla="*/ 45 h 113"/>
                <a:gd name="T28" fmla="*/ 49 w 101"/>
                <a:gd name="T29" fmla="*/ 48 h 113"/>
                <a:gd name="T30" fmla="*/ 44 w 101"/>
                <a:gd name="T31" fmla="*/ 46 h 113"/>
                <a:gd name="T32" fmla="*/ 41 w 101"/>
                <a:gd name="T33" fmla="*/ 44 h 113"/>
                <a:gd name="T34" fmla="*/ 41 w 101"/>
                <a:gd name="T35" fmla="*/ 44 h 113"/>
                <a:gd name="T36" fmla="*/ 31 w 101"/>
                <a:gd name="T37" fmla="*/ 49 h 113"/>
                <a:gd name="T38" fmla="*/ 28 w 101"/>
                <a:gd name="T39" fmla="*/ 49 h 113"/>
                <a:gd name="T40" fmla="*/ 20 w 101"/>
                <a:gd name="T41" fmla="*/ 38 h 113"/>
                <a:gd name="T42" fmla="*/ 23 w 101"/>
                <a:gd name="T43" fmla="*/ 29 h 113"/>
                <a:gd name="T44" fmla="*/ 23 w 101"/>
                <a:gd name="T45" fmla="*/ 29 h 113"/>
                <a:gd name="T46" fmla="*/ 26 w 101"/>
                <a:gd name="T47" fmla="*/ 24 h 113"/>
                <a:gd name="T48" fmla="*/ 31 w 101"/>
                <a:gd name="T49" fmla="*/ 18 h 113"/>
                <a:gd name="T50" fmla="*/ 36 w 101"/>
                <a:gd name="T51" fmla="*/ 16 h 113"/>
                <a:gd name="T52" fmla="*/ 46 w 101"/>
                <a:gd name="T53" fmla="*/ 0 h 113"/>
                <a:gd name="T54" fmla="*/ 15 w 101"/>
                <a:gd name="T55" fmla="*/ 16 h 113"/>
                <a:gd name="T56" fmla="*/ 29 w 101"/>
                <a:gd name="T57" fmla="*/ 60 h 113"/>
                <a:gd name="T58" fmla="*/ 47 w 101"/>
                <a:gd name="T59" fmla="*/ 80 h 113"/>
                <a:gd name="T60" fmla="*/ 51 w 101"/>
                <a:gd name="T61" fmla="*/ 91 h 113"/>
                <a:gd name="T62" fmla="*/ 86 w 101"/>
                <a:gd name="T63" fmla="*/ 113 h 113"/>
                <a:gd name="T64" fmla="*/ 88 w 101"/>
                <a:gd name="T65" fmla="*/ 109 h 113"/>
                <a:gd name="T66" fmla="*/ 78 w 101"/>
                <a:gd name="T67" fmla="*/ 96 h 113"/>
                <a:gd name="T68" fmla="*/ 90 w 101"/>
                <a:gd name="T69" fmla="*/ 105 h 113"/>
                <a:gd name="T70" fmla="*/ 101 w 101"/>
                <a:gd name="T71" fmla="*/ 82 h 113"/>
                <a:gd name="T72" fmla="*/ 84 w 101"/>
                <a:gd name="T73" fmla="*/ 62 h 113"/>
                <a:gd name="T74" fmla="*/ 80 w 101"/>
                <a:gd name="T75" fmla="*/ 48 h 113"/>
                <a:gd name="T76" fmla="*/ 67 w 101"/>
                <a:gd name="T77" fmla="*/ 15 h 113"/>
                <a:gd name="T78" fmla="*/ 46 w 101"/>
                <a:gd name="T7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1" h="113">
                  <a:moveTo>
                    <a:pt x="76" y="95"/>
                  </a:moveTo>
                  <a:cubicBezTo>
                    <a:pt x="74" y="93"/>
                    <a:pt x="72" y="91"/>
                    <a:pt x="71" y="89"/>
                  </a:cubicBezTo>
                  <a:cubicBezTo>
                    <a:pt x="68" y="87"/>
                    <a:pt x="67" y="85"/>
                    <a:pt x="67" y="82"/>
                  </a:cubicBezTo>
                  <a:cubicBezTo>
                    <a:pt x="68" y="84"/>
                    <a:pt x="69" y="86"/>
                    <a:pt x="71" y="88"/>
                  </a:cubicBezTo>
                  <a:cubicBezTo>
                    <a:pt x="72" y="90"/>
                    <a:pt x="74" y="93"/>
                    <a:pt x="76" y="95"/>
                  </a:cubicBezTo>
                  <a:moveTo>
                    <a:pt x="36" y="16"/>
                  </a:moveTo>
                  <a:cubicBezTo>
                    <a:pt x="38" y="14"/>
                    <a:pt x="41" y="13"/>
                    <a:pt x="44" y="13"/>
                  </a:cubicBezTo>
                  <a:cubicBezTo>
                    <a:pt x="46" y="13"/>
                    <a:pt x="48" y="13"/>
                    <a:pt x="49" y="14"/>
                  </a:cubicBezTo>
                  <a:cubicBezTo>
                    <a:pt x="52" y="16"/>
                    <a:pt x="55" y="18"/>
                    <a:pt x="56" y="22"/>
                  </a:cubicBezTo>
                  <a:cubicBezTo>
                    <a:pt x="57" y="23"/>
                    <a:pt x="57" y="25"/>
                    <a:pt x="58" y="26"/>
                  </a:cubicBezTo>
                  <a:cubicBezTo>
                    <a:pt x="58" y="27"/>
                    <a:pt x="58" y="28"/>
                    <a:pt x="58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32"/>
                    <a:pt x="59" y="33"/>
                    <a:pt x="58" y="35"/>
                  </a:cubicBezTo>
                  <a:cubicBezTo>
                    <a:pt x="59" y="38"/>
                    <a:pt x="59" y="42"/>
                    <a:pt x="56" y="45"/>
                  </a:cubicBezTo>
                  <a:cubicBezTo>
                    <a:pt x="54" y="47"/>
                    <a:pt x="52" y="48"/>
                    <a:pt x="49" y="48"/>
                  </a:cubicBezTo>
                  <a:cubicBezTo>
                    <a:pt x="47" y="48"/>
                    <a:pt x="46" y="47"/>
                    <a:pt x="44" y="46"/>
                  </a:cubicBezTo>
                  <a:cubicBezTo>
                    <a:pt x="43" y="45"/>
                    <a:pt x="42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39" y="48"/>
                    <a:pt x="35" y="49"/>
                    <a:pt x="31" y="49"/>
                  </a:cubicBezTo>
                  <a:cubicBezTo>
                    <a:pt x="30" y="49"/>
                    <a:pt x="29" y="49"/>
                    <a:pt x="28" y="49"/>
                  </a:cubicBezTo>
                  <a:cubicBezTo>
                    <a:pt x="24" y="48"/>
                    <a:pt x="19" y="43"/>
                    <a:pt x="20" y="38"/>
                  </a:cubicBezTo>
                  <a:cubicBezTo>
                    <a:pt x="21" y="35"/>
                    <a:pt x="21" y="32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7"/>
                    <a:pt x="24" y="25"/>
                    <a:pt x="26" y="24"/>
                  </a:cubicBezTo>
                  <a:cubicBezTo>
                    <a:pt x="27" y="21"/>
                    <a:pt x="29" y="19"/>
                    <a:pt x="31" y="18"/>
                  </a:cubicBezTo>
                  <a:cubicBezTo>
                    <a:pt x="33" y="17"/>
                    <a:pt x="34" y="16"/>
                    <a:pt x="36" y="16"/>
                  </a:cubicBezTo>
                  <a:moveTo>
                    <a:pt x="46" y="0"/>
                  </a:moveTo>
                  <a:cubicBezTo>
                    <a:pt x="35" y="0"/>
                    <a:pt x="23" y="7"/>
                    <a:pt x="15" y="16"/>
                  </a:cubicBezTo>
                  <a:cubicBezTo>
                    <a:pt x="0" y="34"/>
                    <a:pt x="3" y="59"/>
                    <a:pt x="29" y="60"/>
                  </a:cubicBezTo>
                  <a:cubicBezTo>
                    <a:pt x="43" y="61"/>
                    <a:pt x="47" y="67"/>
                    <a:pt x="47" y="80"/>
                  </a:cubicBezTo>
                  <a:cubicBezTo>
                    <a:pt x="47" y="84"/>
                    <a:pt x="49" y="88"/>
                    <a:pt x="51" y="91"/>
                  </a:cubicBezTo>
                  <a:cubicBezTo>
                    <a:pt x="61" y="101"/>
                    <a:pt x="75" y="104"/>
                    <a:pt x="86" y="113"/>
                  </a:cubicBezTo>
                  <a:cubicBezTo>
                    <a:pt x="86" y="112"/>
                    <a:pt x="87" y="110"/>
                    <a:pt x="88" y="109"/>
                  </a:cubicBezTo>
                  <a:cubicBezTo>
                    <a:pt x="85" y="104"/>
                    <a:pt x="81" y="100"/>
                    <a:pt x="78" y="96"/>
                  </a:cubicBezTo>
                  <a:cubicBezTo>
                    <a:pt x="81" y="100"/>
                    <a:pt x="85" y="103"/>
                    <a:pt x="90" y="105"/>
                  </a:cubicBezTo>
                  <a:cubicBezTo>
                    <a:pt x="94" y="97"/>
                    <a:pt x="98" y="90"/>
                    <a:pt x="101" y="82"/>
                  </a:cubicBezTo>
                  <a:cubicBezTo>
                    <a:pt x="93" y="77"/>
                    <a:pt x="88" y="70"/>
                    <a:pt x="84" y="62"/>
                  </a:cubicBezTo>
                  <a:cubicBezTo>
                    <a:pt x="83" y="57"/>
                    <a:pt x="81" y="51"/>
                    <a:pt x="80" y="48"/>
                  </a:cubicBezTo>
                  <a:cubicBezTo>
                    <a:pt x="76" y="36"/>
                    <a:pt x="71" y="26"/>
                    <a:pt x="67" y="15"/>
                  </a:cubicBezTo>
                  <a:cubicBezTo>
                    <a:pt x="62" y="4"/>
                    <a:pt x="54" y="0"/>
                    <a:pt x="4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Freeform 3156"/>
            <p:cNvSpPr/>
            <p:nvPr userDrawn="1"/>
          </p:nvSpPr>
          <p:spPr bwMode="auto">
            <a:xfrm>
              <a:off x="7870211" y="5282606"/>
              <a:ext cx="22775" cy="38851"/>
            </a:xfrm>
            <a:custGeom>
              <a:avLst/>
              <a:gdLst>
                <a:gd name="T0" fmla="*/ 6 w 12"/>
                <a:gd name="T1" fmla="*/ 0 h 21"/>
                <a:gd name="T2" fmla="*/ 6 w 12"/>
                <a:gd name="T3" fmla="*/ 3 h 21"/>
                <a:gd name="T4" fmla="*/ 6 w 12"/>
                <a:gd name="T5" fmla="*/ 2 h 21"/>
                <a:gd name="T6" fmla="*/ 6 w 12"/>
                <a:gd name="T7" fmla="*/ 3 h 21"/>
                <a:gd name="T8" fmla="*/ 3 w 12"/>
                <a:gd name="T9" fmla="*/ 11 h 21"/>
                <a:gd name="T10" fmla="*/ 0 w 12"/>
                <a:gd name="T11" fmla="*/ 17 h 21"/>
                <a:gd name="T12" fmla="*/ 11 w 12"/>
                <a:gd name="T13" fmla="*/ 21 h 21"/>
                <a:gd name="T14" fmla="*/ 10 w 12"/>
                <a:gd name="T15" fmla="*/ 15 h 21"/>
                <a:gd name="T16" fmla="*/ 12 w 12"/>
                <a:gd name="T17" fmla="*/ 11 h 21"/>
                <a:gd name="T18" fmla="*/ 6 w 1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1">
                  <a:moveTo>
                    <a:pt x="6" y="0"/>
                  </a:moveTo>
                  <a:cubicBezTo>
                    <a:pt x="7" y="1"/>
                    <a:pt x="6" y="2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6" y="7"/>
                    <a:pt x="5" y="9"/>
                    <a:pt x="3" y="11"/>
                  </a:cubicBezTo>
                  <a:cubicBezTo>
                    <a:pt x="2" y="13"/>
                    <a:pt x="1" y="15"/>
                    <a:pt x="0" y="17"/>
                  </a:cubicBezTo>
                  <a:cubicBezTo>
                    <a:pt x="4" y="18"/>
                    <a:pt x="8" y="19"/>
                    <a:pt x="11" y="21"/>
                  </a:cubicBezTo>
                  <a:cubicBezTo>
                    <a:pt x="10" y="19"/>
                    <a:pt x="10" y="17"/>
                    <a:pt x="10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0" y="7"/>
                    <a:pt x="8" y="3"/>
                    <a:pt x="6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Freeform 3157"/>
            <p:cNvSpPr>
              <a:spLocks noEditPoints="1"/>
            </p:cNvSpPr>
            <p:nvPr userDrawn="1"/>
          </p:nvSpPr>
          <p:spPr bwMode="auto">
            <a:xfrm>
              <a:off x="7835380" y="5261171"/>
              <a:ext cx="65645" cy="64305"/>
            </a:xfrm>
            <a:custGeom>
              <a:avLst/>
              <a:gdLst>
                <a:gd name="T0" fmla="*/ 3 w 36"/>
                <a:gd name="T1" fmla="*/ 11 h 35"/>
                <a:gd name="T2" fmla="*/ 0 w 36"/>
                <a:gd name="T3" fmla="*/ 16 h 35"/>
                <a:gd name="T4" fmla="*/ 2 w 36"/>
                <a:gd name="T5" fmla="*/ 11 h 35"/>
                <a:gd name="T6" fmla="*/ 3 w 36"/>
                <a:gd name="T7" fmla="*/ 11 h 35"/>
                <a:gd name="T8" fmla="*/ 21 w 36"/>
                <a:gd name="T9" fmla="*/ 0 h 35"/>
                <a:gd name="T10" fmla="*/ 13 w 36"/>
                <a:gd name="T11" fmla="*/ 3 h 35"/>
                <a:gd name="T12" fmla="*/ 14 w 36"/>
                <a:gd name="T13" fmla="*/ 3 h 35"/>
                <a:gd name="T14" fmla="*/ 16 w 36"/>
                <a:gd name="T15" fmla="*/ 3 h 35"/>
                <a:gd name="T16" fmla="*/ 23 w 36"/>
                <a:gd name="T17" fmla="*/ 6 h 35"/>
                <a:gd name="T18" fmla="*/ 25 w 36"/>
                <a:gd name="T19" fmla="*/ 12 h 35"/>
                <a:gd name="T20" fmla="*/ 31 w 36"/>
                <a:gd name="T21" fmla="*/ 23 h 35"/>
                <a:gd name="T22" fmla="*/ 29 w 36"/>
                <a:gd name="T23" fmla="*/ 27 h 35"/>
                <a:gd name="T24" fmla="*/ 30 w 36"/>
                <a:gd name="T25" fmla="*/ 33 h 35"/>
                <a:gd name="T26" fmla="*/ 19 w 36"/>
                <a:gd name="T27" fmla="*/ 29 h 35"/>
                <a:gd name="T28" fmla="*/ 18 w 36"/>
                <a:gd name="T29" fmla="*/ 31 h 35"/>
                <a:gd name="T30" fmla="*/ 21 w 36"/>
                <a:gd name="T31" fmla="*/ 33 h 35"/>
                <a:gd name="T32" fmla="*/ 26 w 36"/>
                <a:gd name="T33" fmla="*/ 35 h 35"/>
                <a:gd name="T34" fmla="*/ 33 w 36"/>
                <a:gd name="T35" fmla="*/ 32 h 35"/>
                <a:gd name="T36" fmla="*/ 35 w 36"/>
                <a:gd name="T37" fmla="*/ 22 h 35"/>
                <a:gd name="T38" fmla="*/ 35 w 36"/>
                <a:gd name="T39" fmla="*/ 17 h 35"/>
                <a:gd name="T40" fmla="*/ 35 w 36"/>
                <a:gd name="T41" fmla="*/ 16 h 35"/>
                <a:gd name="T42" fmla="*/ 35 w 36"/>
                <a:gd name="T43" fmla="*/ 13 h 35"/>
                <a:gd name="T44" fmla="*/ 33 w 36"/>
                <a:gd name="T45" fmla="*/ 9 h 35"/>
                <a:gd name="T46" fmla="*/ 26 w 36"/>
                <a:gd name="T47" fmla="*/ 1 h 35"/>
                <a:gd name="T48" fmla="*/ 21 w 36"/>
                <a:gd name="T4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" h="35">
                  <a:moveTo>
                    <a:pt x="3" y="11"/>
                  </a:moveTo>
                  <a:cubicBezTo>
                    <a:pt x="1" y="12"/>
                    <a:pt x="0" y="14"/>
                    <a:pt x="0" y="16"/>
                  </a:cubicBezTo>
                  <a:cubicBezTo>
                    <a:pt x="1" y="14"/>
                    <a:pt x="2" y="13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moveTo>
                    <a:pt x="21" y="0"/>
                  </a:moveTo>
                  <a:cubicBezTo>
                    <a:pt x="18" y="0"/>
                    <a:pt x="15" y="1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9" y="3"/>
                    <a:pt x="21" y="4"/>
                    <a:pt x="23" y="6"/>
                  </a:cubicBezTo>
                  <a:cubicBezTo>
                    <a:pt x="25" y="7"/>
                    <a:pt x="25" y="10"/>
                    <a:pt x="25" y="12"/>
                  </a:cubicBezTo>
                  <a:cubicBezTo>
                    <a:pt x="27" y="15"/>
                    <a:pt x="29" y="19"/>
                    <a:pt x="31" y="23"/>
                  </a:cubicBezTo>
                  <a:cubicBezTo>
                    <a:pt x="30" y="24"/>
                    <a:pt x="29" y="26"/>
                    <a:pt x="29" y="27"/>
                  </a:cubicBezTo>
                  <a:cubicBezTo>
                    <a:pt x="29" y="29"/>
                    <a:pt x="29" y="31"/>
                    <a:pt x="30" y="33"/>
                  </a:cubicBezTo>
                  <a:cubicBezTo>
                    <a:pt x="27" y="31"/>
                    <a:pt x="23" y="30"/>
                    <a:pt x="19" y="29"/>
                  </a:cubicBezTo>
                  <a:cubicBezTo>
                    <a:pt x="19" y="30"/>
                    <a:pt x="18" y="30"/>
                    <a:pt x="18" y="31"/>
                  </a:cubicBezTo>
                  <a:cubicBezTo>
                    <a:pt x="19" y="31"/>
                    <a:pt x="20" y="32"/>
                    <a:pt x="21" y="33"/>
                  </a:cubicBezTo>
                  <a:cubicBezTo>
                    <a:pt x="23" y="34"/>
                    <a:pt x="24" y="35"/>
                    <a:pt x="26" y="35"/>
                  </a:cubicBezTo>
                  <a:cubicBezTo>
                    <a:pt x="29" y="35"/>
                    <a:pt x="31" y="34"/>
                    <a:pt x="33" y="32"/>
                  </a:cubicBezTo>
                  <a:cubicBezTo>
                    <a:pt x="36" y="29"/>
                    <a:pt x="36" y="25"/>
                    <a:pt x="35" y="22"/>
                  </a:cubicBezTo>
                  <a:cubicBezTo>
                    <a:pt x="36" y="20"/>
                    <a:pt x="36" y="19"/>
                    <a:pt x="35" y="17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4" y="12"/>
                    <a:pt x="34" y="10"/>
                    <a:pt x="33" y="9"/>
                  </a:cubicBezTo>
                  <a:cubicBezTo>
                    <a:pt x="32" y="5"/>
                    <a:pt x="29" y="3"/>
                    <a:pt x="26" y="1"/>
                  </a:cubicBezTo>
                  <a:cubicBezTo>
                    <a:pt x="25" y="0"/>
                    <a:pt x="23" y="0"/>
                    <a:pt x="21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Freeform 3158"/>
            <p:cNvSpPr/>
            <p:nvPr userDrawn="1"/>
          </p:nvSpPr>
          <p:spPr bwMode="auto">
            <a:xfrm>
              <a:off x="7840738" y="5266529"/>
              <a:ext cx="18756" cy="14737"/>
            </a:xfrm>
            <a:custGeom>
              <a:avLst/>
              <a:gdLst>
                <a:gd name="T0" fmla="*/ 10 w 10"/>
                <a:gd name="T1" fmla="*/ 0 h 8"/>
                <a:gd name="T2" fmla="*/ 5 w 10"/>
                <a:gd name="T3" fmla="*/ 2 h 8"/>
                <a:gd name="T4" fmla="*/ 0 w 10"/>
                <a:gd name="T5" fmla="*/ 8 h 8"/>
                <a:gd name="T6" fmla="*/ 4 w 10"/>
                <a:gd name="T7" fmla="*/ 6 h 8"/>
                <a:gd name="T8" fmla="*/ 4 w 10"/>
                <a:gd name="T9" fmla="*/ 6 h 8"/>
                <a:gd name="T10" fmla="*/ 5 w 10"/>
                <a:gd name="T11" fmla="*/ 7 h 8"/>
                <a:gd name="T12" fmla="*/ 5 w 10"/>
                <a:gd name="T13" fmla="*/ 7 h 8"/>
                <a:gd name="T14" fmla="*/ 7 w 10"/>
                <a:gd name="T15" fmla="*/ 7 h 8"/>
                <a:gd name="T16" fmla="*/ 8 w 10"/>
                <a:gd name="T17" fmla="*/ 6 h 8"/>
                <a:gd name="T18" fmla="*/ 10 w 10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cubicBezTo>
                    <a:pt x="8" y="0"/>
                    <a:pt x="7" y="1"/>
                    <a:pt x="5" y="2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1" y="7"/>
                    <a:pt x="2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4"/>
                    <a:pt x="9" y="2"/>
                    <a:pt x="1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Freeform 3159"/>
            <p:cNvSpPr/>
            <p:nvPr userDrawn="1"/>
          </p:nvSpPr>
          <p:spPr bwMode="auto">
            <a:xfrm>
              <a:off x="7839399" y="5302701"/>
              <a:ext cx="25454" cy="10717"/>
            </a:xfrm>
            <a:custGeom>
              <a:avLst/>
              <a:gdLst>
                <a:gd name="T0" fmla="*/ 0 w 14"/>
                <a:gd name="T1" fmla="*/ 0 h 6"/>
                <a:gd name="T2" fmla="*/ 14 w 14"/>
                <a:gd name="T3" fmla="*/ 6 h 6"/>
                <a:gd name="T4" fmla="*/ 12 w 14"/>
                <a:gd name="T5" fmla="*/ 5 h 6"/>
                <a:gd name="T6" fmla="*/ 11 w 14"/>
                <a:gd name="T7" fmla="*/ 4 h 6"/>
                <a:gd name="T8" fmla="*/ 10 w 14"/>
                <a:gd name="T9" fmla="*/ 4 h 6"/>
                <a:gd name="T10" fmla="*/ 3 w 14"/>
                <a:gd name="T11" fmla="*/ 2 h 6"/>
                <a:gd name="T12" fmla="*/ 0 w 1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cubicBezTo>
                    <a:pt x="0" y="5"/>
                    <a:pt x="9" y="6"/>
                    <a:pt x="14" y="6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8" y="3"/>
                    <a:pt x="5" y="3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Freeform 3160"/>
            <p:cNvSpPr/>
            <p:nvPr userDrawn="1"/>
          </p:nvSpPr>
          <p:spPr bwMode="auto">
            <a:xfrm>
              <a:off x="7828681" y="5290644"/>
              <a:ext cx="40191" cy="36172"/>
            </a:xfrm>
            <a:custGeom>
              <a:avLst/>
              <a:gdLst>
                <a:gd name="T0" fmla="*/ 4 w 22"/>
                <a:gd name="T1" fmla="*/ 0 h 20"/>
                <a:gd name="T2" fmla="*/ 4 w 22"/>
                <a:gd name="T3" fmla="*/ 0 h 20"/>
                <a:gd name="T4" fmla="*/ 1 w 22"/>
                <a:gd name="T5" fmla="*/ 9 h 20"/>
                <a:gd name="T6" fmla="*/ 9 w 22"/>
                <a:gd name="T7" fmla="*/ 20 h 20"/>
                <a:gd name="T8" fmla="*/ 12 w 22"/>
                <a:gd name="T9" fmla="*/ 20 h 20"/>
                <a:gd name="T10" fmla="*/ 22 w 22"/>
                <a:gd name="T11" fmla="*/ 15 h 20"/>
                <a:gd name="T12" fmla="*/ 22 w 22"/>
                <a:gd name="T13" fmla="*/ 15 h 20"/>
                <a:gd name="T14" fmla="*/ 20 w 22"/>
                <a:gd name="T15" fmla="*/ 13 h 20"/>
                <a:gd name="T16" fmla="*/ 6 w 22"/>
                <a:gd name="T17" fmla="*/ 7 h 20"/>
                <a:gd name="T18" fmla="*/ 4 w 22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0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2" y="6"/>
                    <a:pt x="1" y="9"/>
                  </a:cubicBezTo>
                  <a:cubicBezTo>
                    <a:pt x="0" y="14"/>
                    <a:pt x="5" y="19"/>
                    <a:pt x="9" y="20"/>
                  </a:cubicBezTo>
                  <a:cubicBezTo>
                    <a:pt x="10" y="20"/>
                    <a:pt x="11" y="20"/>
                    <a:pt x="12" y="20"/>
                  </a:cubicBezTo>
                  <a:cubicBezTo>
                    <a:pt x="16" y="20"/>
                    <a:pt x="20" y="19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4"/>
                    <a:pt x="21" y="14"/>
                    <a:pt x="20" y="13"/>
                  </a:cubicBezTo>
                  <a:cubicBezTo>
                    <a:pt x="15" y="13"/>
                    <a:pt x="6" y="12"/>
                    <a:pt x="6" y="7"/>
                  </a:cubicBezTo>
                  <a:cubicBezTo>
                    <a:pt x="5" y="5"/>
                    <a:pt x="4" y="2"/>
                    <a:pt x="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Freeform 3161"/>
            <p:cNvSpPr/>
            <p:nvPr userDrawn="1"/>
          </p:nvSpPr>
          <p:spPr bwMode="auto">
            <a:xfrm>
              <a:off x="7839399" y="5271888"/>
              <a:ext cx="44210" cy="41530"/>
            </a:xfrm>
            <a:custGeom>
              <a:avLst/>
              <a:gdLst>
                <a:gd name="T0" fmla="*/ 17 w 24"/>
                <a:gd name="T1" fmla="*/ 0 h 23"/>
                <a:gd name="T2" fmla="*/ 15 w 24"/>
                <a:gd name="T3" fmla="*/ 1 h 23"/>
                <a:gd name="T4" fmla="*/ 2 w 24"/>
                <a:gd name="T5" fmla="*/ 14 h 23"/>
                <a:gd name="T6" fmla="*/ 0 w 24"/>
                <a:gd name="T7" fmla="*/ 17 h 23"/>
                <a:gd name="T8" fmla="*/ 3 w 24"/>
                <a:gd name="T9" fmla="*/ 19 h 23"/>
                <a:gd name="T10" fmla="*/ 10 w 24"/>
                <a:gd name="T11" fmla="*/ 21 h 23"/>
                <a:gd name="T12" fmla="*/ 11 w 24"/>
                <a:gd name="T13" fmla="*/ 21 h 23"/>
                <a:gd name="T14" fmla="*/ 12 w 24"/>
                <a:gd name="T15" fmla="*/ 22 h 23"/>
                <a:gd name="T16" fmla="*/ 14 w 24"/>
                <a:gd name="T17" fmla="*/ 23 h 23"/>
                <a:gd name="T18" fmla="*/ 17 w 24"/>
                <a:gd name="T19" fmla="*/ 23 h 23"/>
                <a:gd name="T20" fmla="*/ 17 w 24"/>
                <a:gd name="T21" fmla="*/ 23 h 23"/>
                <a:gd name="T22" fmla="*/ 20 w 24"/>
                <a:gd name="T23" fmla="*/ 17 h 23"/>
                <a:gd name="T24" fmla="*/ 23 w 24"/>
                <a:gd name="T25" fmla="*/ 9 h 23"/>
                <a:gd name="T26" fmla="*/ 23 w 24"/>
                <a:gd name="T27" fmla="*/ 8 h 23"/>
                <a:gd name="T28" fmla="*/ 23 w 24"/>
                <a:gd name="T29" fmla="*/ 9 h 23"/>
                <a:gd name="T30" fmla="*/ 23 w 24"/>
                <a:gd name="T31" fmla="*/ 6 h 23"/>
                <a:gd name="T32" fmla="*/ 17 w 24"/>
                <a:gd name="T3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3">
                  <a:moveTo>
                    <a:pt x="17" y="0"/>
                  </a:moveTo>
                  <a:cubicBezTo>
                    <a:pt x="16" y="0"/>
                    <a:pt x="16" y="0"/>
                    <a:pt x="15" y="1"/>
                  </a:cubicBezTo>
                  <a:cubicBezTo>
                    <a:pt x="10" y="3"/>
                    <a:pt x="5" y="9"/>
                    <a:pt x="2" y="14"/>
                  </a:cubicBezTo>
                  <a:cubicBezTo>
                    <a:pt x="1" y="15"/>
                    <a:pt x="1" y="16"/>
                    <a:pt x="0" y="17"/>
                  </a:cubicBezTo>
                  <a:cubicBezTo>
                    <a:pt x="1" y="18"/>
                    <a:pt x="2" y="18"/>
                    <a:pt x="3" y="19"/>
                  </a:cubicBezTo>
                  <a:cubicBezTo>
                    <a:pt x="5" y="20"/>
                    <a:pt x="8" y="20"/>
                    <a:pt x="10" y="21"/>
                  </a:cubicBezTo>
                  <a:cubicBezTo>
                    <a:pt x="10" y="21"/>
                    <a:pt x="11" y="21"/>
                    <a:pt x="11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2"/>
                    <a:pt x="13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1"/>
                    <a:pt x="19" y="19"/>
                    <a:pt x="20" y="17"/>
                  </a:cubicBezTo>
                  <a:cubicBezTo>
                    <a:pt x="22" y="15"/>
                    <a:pt x="23" y="13"/>
                    <a:pt x="23" y="9"/>
                  </a:cubicBezTo>
                  <a:cubicBezTo>
                    <a:pt x="23" y="9"/>
                    <a:pt x="24" y="8"/>
                    <a:pt x="23" y="8"/>
                  </a:cubicBezTo>
                  <a:cubicBezTo>
                    <a:pt x="23" y="8"/>
                    <a:pt x="23" y="8"/>
                    <a:pt x="23" y="9"/>
                  </a:cubicBezTo>
                  <a:cubicBezTo>
                    <a:pt x="23" y="8"/>
                    <a:pt x="24" y="7"/>
                    <a:pt x="23" y="6"/>
                  </a:cubicBezTo>
                  <a:cubicBezTo>
                    <a:pt x="21" y="3"/>
                    <a:pt x="19" y="0"/>
                    <a:pt x="17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Freeform 3162"/>
            <p:cNvSpPr>
              <a:spLocks noEditPoints="1"/>
            </p:cNvSpPr>
            <p:nvPr userDrawn="1"/>
          </p:nvSpPr>
          <p:spPr bwMode="auto">
            <a:xfrm>
              <a:off x="7835380" y="5266529"/>
              <a:ext cx="45549" cy="50908"/>
            </a:xfrm>
            <a:custGeom>
              <a:avLst/>
              <a:gdLst>
                <a:gd name="T0" fmla="*/ 16 w 25"/>
                <a:gd name="T1" fmla="*/ 26 h 28"/>
                <a:gd name="T2" fmla="*/ 18 w 25"/>
                <a:gd name="T3" fmla="*/ 28 h 28"/>
                <a:gd name="T4" fmla="*/ 19 w 25"/>
                <a:gd name="T5" fmla="*/ 26 h 28"/>
                <a:gd name="T6" fmla="*/ 19 w 25"/>
                <a:gd name="T7" fmla="*/ 26 h 28"/>
                <a:gd name="T8" fmla="*/ 16 w 25"/>
                <a:gd name="T9" fmla="*/ 26 h 28"/>
                <a:gd name="T10" fmla="*/ 16 w 25"/>
                <a:gd name="T11" fmla="*/ 0 h 28"/>
                <a:gd name="T12" fmla="*/ 14 w 25"/>
                <a:gd name="T13" fmla="*/ 0 h 28"/>
                <a:gd name="T14" fmla="*/ 13 w 25"/>
                <a:gd name="T15" fmla="*/ 0 h 28"/>
                <a:gd name="T16" fmla="*/ 11 w 25"/>
                <a:gd name="T17" fmla="*/ 6 h 28"/>
                <a:gd name="T18" fmla="*/ 10 w 25"/>
                <a:gd name="T19" fmla="*/ 7 h 28"/>
                <a:gd name="T20" fmla="*/ 8 w 25"/>
                <a:gd name="T21" fmla="*/ 7 h 28"/>
                <a:gd name="T22" fmla="*/ 8 w 25"/>
                <a:gd name="T23" fmla="*/ 7 h 28"/>
                <a:gd name="T24" fmla="*/ 7 w 25"/>
                <a:gd name="T25" fmla="*/ 6 h 28"/>
                <a:gd name="T26" fmla="*/ 7 w 25"/>
                <a:gd name="T27" fmla="*/ 6 h 28"/>
                <a:gd name="T28" fmla="*/ 3 w 25"/>
                <a:gd name="T29" fmla="*/ 8 h 28"/>
                <a:gd name="T30" fmla="*/ 2 w 25"/>
                <a:gd name="T31" fmla="*/ 8 h 28"/>
                <a:gd name="T32" fmla="*/ 0 w 25"/>
                <a:gd name="T33" fmla="*/ 13 h 28"/>
                <a:gd name="T34" fmla="*/ 2 w 25"/>
                <a:gd name="T35" fmla="*/ 20 h 28"/>
                <a:gd name="T36" fmla="*/ 4 w 25"/>
                <a:gd name="T37" fmla="*/ 17 h 28"/>
                <a:gd name="T38" fmla="*/ 17 w 25"/>
                <a:gd name="T39" fmla="*/ 4 h 28"/>
                <a:gd name="T40" fmla="*/ 19 w 25"/>
                <a:gd name="T41" fmla="*/ 3 h 28"/>
                <a:gd name="T42" fmla="*/ 25 w 25"/>
                <a:gd name="T43" fmla="*/ 9 h 28"/>
                <a:gd name="T44" fmla="*/ 23 w 25"/>
                <a:gd name="T45" fmla="*/ 3 h 28"/>
                <a:gd name="T46" fmla="*/ 16 w 25"/>
                <a:gd name="T4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8">
                  <a:moveTo>
                    <a:pt x="16" y="26"/>
                  </a:moveTo>
                  <a:cubicBezTo>
                    <a:pt x="17" y="27"/>
                    <a:pt x="17" y="27"/>
                    <a:pt x="18" y="28"/>
                  </a:cubicBezTo>
                  <a:cubicBezTo>
                    <a:pt x="18" y="27"/>
                    <a:pt x="19" y="27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6"/>
                    <a:pt x="17" y="26"/>
                    <a:pt x="16" y="26"/>
                  </a:cubicBezTo>
                  <a:moveTo>
                    <a:pt x="16" y="0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2"/>
                    <a:pt x="11" y="4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6"/>
                    <a:pt x="4" y="7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10"/>
                    <a:pt x="1" y="11"/>
                    <a:pt x="0" y="13"/>
                  </a:cubicBezTo>
                  <a:cubicBezTo>
                    <a:pt x="0" y="15"/>
                    <a:pt x="1" y="18"/>
                    <a:pt x="2" y="20"/>
                  </a:cubicBezTo>
                  <a:cubicBezTo>
                    <a:pt x="3" y="19"/>
                    <a:pt x="3" y="18"/>
                    <a:pt x="4" y="17"/>
                  </a:cubicBezTo>
                  <a:cubicBezTo>
                    <a:pt x="7" y="12"/>
                    <a:pt x="12" y="6"/>
                    <a:pt x="17" y="4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21" y="3"/>
                    <a:pt x="23" y="6"/>
                    <a:pt x="25" y="9"/>
                  </a:cubicBezTo>
                  <a:cubicBezTo>
                    <a:pt x="25" y="7"/>
                    <a:pt x="25" y="4"/>
                    <a:pt x="23" y="3"/>
                  </a:cubicBezTo>
                  <a:cubicBezTo>
                    <a:pt x="21" y="1"/>
                    <a:pt x="19" y="0"/>
                    <a:pt x="16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Freeform 3163"/>
            <p:cNvSpPr/>
            <p:nvPr userDrawn="1"/>
          </p:nvSpPr>
          <p:spPr bwMode="auto">
            <a:xfrm>
              <a:off x="7521893" y="5092370"/>
              <a:ext cx="301429" cy="144686"/>
            </a:xfrm>
            <a:custGeom>
              <a:avLst/>
              <a:gdLst>
                <a:gd name="T0" fmla="*/ 28 w 164"/>
                <a:gd name="T1" fmla="*/ 0 h 79"/>
                <a:gd name="T2" fmla="*/ 19 w 164"/>
                <a:gd name="T3" fmla="*/ 7 h 79"/>
                <a:gd name="T4" fmla="*/ 45 w 164"/>
                <a:gd name="T5" fmla="*/ 28 h 79"/>
                <a:gd name="T6" fmla="*/ 51 w 164"/>
                <a:gd name="T7" fmla="*/ 31 h 79"/>
                <a:gd name="T8" fmla="*/ 68 w 164"/>
                <a:gd name="T9" fmla="*/ 38 h 79"/>
                <a:gd name="T10" fmla="*/ 70 w 164"/>
                <a:gd name="T11" fmla="*/ 39 h 79"/>
                <a:gd name="T12" fmla="*/ 72 w 164"/>
                <a:gd name="T13" fmla="*/ 40 h 79"/>
                <a:gd name="T14" fmla="*/ 75 w 164"/>
                <a:gd name="T15" fmla="*/ 41 h 79"/>
                <a:gd name="T16" fmla="*/ 73 w 164"/>
                <a:gd name="T17" fmla="*/ 54 h 79"/>
                <a:gd name="T18" fmla="*/ 73 w 164"/>
                <a:gd name="T19" fmla="*/ 54 h 79"/>
                <a:gd name="T20" fmla="*/ 47 w 164"/>
                <a:gd name="T21" fmla="*/ 49 h 79"/>
                <a:gd name="T22" fmla="*/ 26 w 164"/>
                <a:gd name="T23" fmla="*/ 37 h 79"/>
                <a:gd name="T24" fmla="*/ 5 w 164"/>
                <a:gd name="T25" fmla="*/ 22 h 79"/>
                <a:gd name="T26" fmla="*/ 0 w 164"/>
                <a:gd name="T27" fmla="*/ 28 h 79"/>
                <a:gd name="T28" fmla="*/ 23 w 164"/>
                <a:gd name="T29" fmla="*/ 45 h 79"/>
                <a:gd name="T30" fmla="*/ 61 w 164"/>
                <a:gd name="T31" fmla="*/ 76 h 79"/>
                <a:gd name="T32" fmla="*/ 70 w 164"/>
                <a:gd name="T33" fmla="*/ 78 h 79"/>
                <a:gd name="T34" fmla="*/ 88 w 164"/>
                <a:gd name="T35" fmla="*/ 74 h 79"/>
                <a:gd name="T36" fmla="*/ 106 w 164"/>
                <a:gd name="T37" fmla="*/ 69 h 79"/>
                <a:gd name="T38" fmla="*/ 116 w 164"/>
                <a:gd name="T39" fmla="*/ 71 h 79"/>
                <a:gd name="T40" fmla="*/ 145 w 164"/>
                <a:gd name="T41" fmla="*/ 79 h 79"/>
                <a:gd name="T42" fmla="*/ 153 w 164"/>
                <a:gd name="T43" fmla="*/ 79 h 79"/>
                <a:gd name="T44" fmla="*/ 161 w 164"/>
                <a:gd name="T45" fmla="*/ 63 h 79"/>
                <a:gd name="T46" fmla="*/ 101 w 164"/>
                <a:gd name="T47" fmla="*/ 38 h 79"/>
                <a:gd name="T48" fmla="*/ 28 w 164"/>
                <a:gd name="T4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4" h="79">
                  <a:moveTo>
                    <a:pt x="28" y="0"/>
                  </a:moveTo>
                  <a:cubicBezTo>
                    <a:pt x="25" y="3"/>
                    <a:pt x="22" y="5"/>
                    <a:pt x="19" y="7"/>
                  </a:cubicBezTo>
                  <a:cubicBezTo>
                    <a:pt x="28" y="14"/>
                    <a:pt x="36" y="22"/>
                    <a:pt x="45" y="28"/>
                  </a:cubicBezTo>
                  <a:cubicBezTo>
                    <a:pt x="47" y="29"/>
                    <a:pt x="49" y="30"/>
                    <a:pt x="51" y="31"/>
                  </a:cubicBezTo>
                  <a:cubicBezTo>
                    <a:pt x="57" y="34"/>
                    <a:pt x="62" y="36"/>
                    <a:pt x="68" y="38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71" y="39"/>
                    <a:pt x="72" y="39"/>
                    <a:pt x="72" y="40"/>
                  </a:cubicBezTo>
                  <a:cubicBezTo>
                    <a:pt x="73" y="40"/>
                    <a:pt x="74" y="40"/>
                    <a:pt x="75" y="41"/>
                  </a:cubicBezTo>
                  <a:cubicBezTo>
                    <a:pt x="81" y="43"/>
                    <a:pt x="80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64" y="53"/>
                    <a:pt x="55" y="51"/>
                    <a:pt x="47" y="49"/>
                  </a:cubicBezTo>
                  <a:cubicBezTo>
                    <a:pt x="39" y="46"/>
                    <a:pt x="30" y="44"/>
                    <a:pt x="26" y="37"/>
                  </a:cubicBezTo>
                  <a:cubicBezTo>
                    <a:pt x="18" y="33"/>
                    <a:pt x="11" y="28"/>
                    <a:pt x="5" y="22"/>
                  </a:cubicBezTo>
                  <a:cubicBezTo>
                    <a:pt x="3" y="24"/>
                    <a:pt x="1" y="26"/>
                    <a:pt x="0" y="28"/>
                  </a:cubicBezTo>
                  <a:cubicBezTo>
                    <a:pt x="8" y="32"/>
                    <a:pt x="17" y="37"/>
                    <a:pt x="23" y="45"/>
                  </a:cubicBezTo>
                  <a:cubicBezTo>
                    <a:pt x="34" y="59"/>
                    <a:pt x="45" y="70"/>
                    <a:pt x="61" y="76"/>
                  </a:cubicBezTo>
                  <a:cubicBezTo>
                    <a:pt x="64" y="78"/>
                    <a:pt x="67" y="78"/>
                    <a:pt x="70" y="78"/>
                  </a:cubicBezTo>
                  <a:cubicBezTo>
                    <a:pt x="76" y="78"/>
                    <a:pt x="82" y="76"/>
                    <a:pt x="88" y="74"/>
                  </a:cubicBezTo>
                  <a:cubicBezTo>
                    <a:pt x="94" y="71"/>
                    <a:pt x="100" y="69"/>
                    <a:pt x="106" y="69"/>
                  </a:cubicBezTo>
                  <a:cubicBezTo>
                    <a:pt x="110" y="69"/>
                    <a:pt x="113" y="70"/>
                    <a:pt x="116" y="71"/>
                  </a:cubicBezTo>
                  <a:cubicBezTo>
                    <a:pt x="127" y="76"/>
                    <a:pt x="135" y="79"/>
                    <a:pt x="145" y="79"/>
                  </a:cubicBezTo>
                  <a:cubicBezTo>
                    <a:pt x="148" y="79"/>
                    <a:pt x="150" y="79"/>
                    <a:pt x="153" y="79"/>
                  </a:cubicBezTo>
                  <a:cubicBezTo>
                    <a:pt x="161" y="78"/>
                    <a:pt x="164" y="69"/>
                    <a:pt x="161" y="63"/>
                  </a:cubicBezTo>
                  <a:cubicBezTo>
                    <a:pt x="148" y="35"/>
                    <a:pt x="127" y="39"/>
                    <a:pt x="101" y="38"/>
                  </a:cubicBezTo>
                  <a:cubicBezTo>
                    <a:pt x="74" y="36"/>
                    <a:pt x="52" y="16"/>
                    <a:pt x="2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Freeform 3164"/>
            <p:cNvSpPr>
              <a:spLocks noEditPoints="1"/>
            </p:cNvSpPr>
            <p:nvPr userDrawn="1"/>
          </p:nvSpPr>
          <p:spPr bwMode="auto">
            <a:xfrm>
              <a:off x="7531271" y="5105767"/>
              <a:ext cx="123251" cy="60286"/>
            </a:xfrm>
            <a:custGeom>
              <a:avLst/>
              <a:gdLst>
                <a:gd name="T0" fmla="*/ 63 w 67"/>
                <a:gd name="T1" fmla="*/ 31 h 33"/>
                <a:gd name="T2" fmla="*/ 67 w 67"/>
                <a:gd name="T3" fmla="*/ 33 h 33"/>
                <a:gd name="T4" fmla="*/ 65 w 67"/>
                <a:gd name="T5" fmla="*/ 32 h 33"/>
                <a:gd name="T6" fmla="*/ 63 w 67"/>
                <a:gd name="T7" fmla="*/ 31 h 33"/>
                <a:gd name="T8" fmla="*/ 14 w 67"/>
                <a:gd name="T9" fmla="*/ 0 h 33"/>
                <a:gd name="T10" fmla="*/ 0 w 67"/>
                <a:gd name="T11" fmla="*/ 15 h 33"/>
                <a:gd name="T12" fmla="*/ 21 w 67"/>
                <a:gd name="T13" fmla="*/ 30 h 33"/>
                <a:gd name="T14" fmla="*/ 19 w 67"/>
                <a:gd name="T15" fmla="*/ 26 h 33"/>
                <a:gd name="T16" fmla="*/ 25 w 67"/>
                <a:gd name="T17" fmla="*/ 17 h 33"/>
                <a:gd name="T18" fmla="*/ 28 w 67"/>
                <a:gd name="T19" fmla="*/ 17 h 33"/>
                <a:gd name="T20" fmla="*/ 40 w 67"/>
                <a:gd name="T21" fmla="*/ 21 h 33"/>
                <a:gd name="T22" fmla="*/ 14 w 67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3">
                  <a:moveTo>
                    <a:pt x="63" y="31"/>
                  </a:moveTo>
                  <a:cubicBezTo>
                    <a:pt x="64" y="32"/>
                    <a:pt x="66" y="32"/>
                    <a:pt x="67" y="33"/>
                  </a:cubicBezTo>
                  <a:cubicBezTo>
                    <a:pt x="67" y="32"/>
                    <a:pt x="66" y="32"/>
                    <a:pt x="65" y="32"/>
                  </a:cubicBezTo>
                  <a:cubicBezTo>
                    <a:pt x="64" y="32"/>
                    <a:pt x="64" y="32"/>
                    <a:pt x="63" y="31"/>
                  </a:cubicBezTo>
                  <a:moveTo>
                    <a:pt x="14" y="0"/>
                  </a:moveTo>
                  <a:cubicBezTo>
                    <a:pt x="9" y="5"/>
                    <a:pt x="4" y="10"/>
                    <a:pt x="0" y="15"/>
                  </a:cubicBezTo>
                  <a:cubicBezTo>
                    <a:pt x="6" y="21"/>
                    <a:pt x="13" y="26"/>
                    <a:pt x="21" y="30"/>
                  </a:cubicBezTo>
                  <a:cubicBezTo>
                    <a:pt x="20" y="29"/>
                    <a:pt x="19" y="28"/>
                    <a:pt x="19" y="26"/>
                  </a:cubicBezTo>
                  <a:cubicBezTo>
                    <a:pt x="17" y="22"/>
                    <a:pt x="21" y="18"/>
                    <a:pt x="25" y="17"/>
                  </a:cubicBezTo>
                  <a:cubicBezTo>
                    <a:pt x="26" y="17"/>
                    <a:pt x="27" y="17"/>
                    <a:pt x="28" y="17"/>
                  </a:cubicBezTo>
                  <a:cubicBezTo>
                    <a:pt x="32" y="17"/>
                    <a:pt x="36" y="19"/>
                    <a:pt x="40" y="21"/>
                  </a:cubicBezTo>
                  <a:cubicBezTo>
                    <a:pt x="31" y="15"/>
                    <a:pt x="23" y="7"/>
                    <a:pt x="14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Freeform 3165"/>
            <p:cNvSpPr/>
            <p:nvPr userDrawn="1"/>
          </p:nvSpPr>
          <p:spPr bwMode="auto">
            <a:xfrm>
              <a:off x="7724186" y="5045481"/>
              <a:ext cx="140667" cy="92438"/>
            </a:xfrm>
            <a:custGeom>
              <a:avLst/>
              <a:gdLst>
                <a:gd name="T0" fmla="*/ 14 w 77"/>
                <a:gd name="T1" fmla="*/ 0 h 51"/>
                <a:gd name="T2" fmla="*/ 9 w 77"/>
                <a:gd name="T3" fmla="*/ 17 h 51"/>
                <a:gd name="T4" fmla="*/ 10 w 77"/>
                <a:gd name="T5" fmla="*/ 31 h 51"/>
                <a:gd name="T6" fmla="*/ 55 w 77"/>
                <a:gd name="T7" fmla="*/ 50 h 51"/>
                <a:gd name="T8" fmla="*/ 60 w 77"/>
                <a:gd name="T9" fmla="*/ 49 h 51"/>
                <a:gd name="T10" fmla="*/ 64 w 77"/>
                <a:gd name="T11" fmla="*/ 50 h 51"/>
                <a:gd name="T12" fmla="*/ 67 w 77"/>
                <a:gd name="T13" fmla="*/ 51 h 51"/>
                <a:gd name="T14" fmla="*/ 74 w 77"/>
                <a:gd name="T15" fmla="*/ 38 h 51"/>
                <a:gd name="T16" fmla="*/ 19 w 77"/>
                <a:gd name="T17" fmla="*/ 1 h 51"/>
                <a:gd name="T18" fmla="*/ 14 w 77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51">
                  <a:moveTo>
                    <a:pt x="14" y="0"/>
                  </a:moveTo>
                  <a:cubicBezTo>
                    <a:pt x="6" y="0"/>
                    <a:pt x="0" y="11"/>
                    <a:pt x="9" y="17"/>
                  </a:cubicBezTo>
                  <a:cubicBezTo>
                    <a:pt x="5" y="21"/>
                    <a:pt x="6" y="28"/>
                    <a:pt x="10" y="31"/>
                  </a:cubicBezTo>
                  <a:cubicBezTo>
                    <a:pt x="18" y="34"/>
                    <a:pt x="41" y="50"/>
                    <a:pt x="55" y="50"/>
                  </a:cubicBezTo>
                  <a:cubicBezTo>
                    <a:pt x="57" y="50"/>
                    <a:pt x="59" y="49"/>
                    <a:pt x="60" y="49"/>
                  </a:cubicBezTo>
                  <a:cubicBezTo>
                    <a:pt x="62" y="49"/>
                    <a:pt x="63" y="50"/>
                    <a:pt x="64" y="50"/>
                  </a:cubicBezTo>
                  <a:cubicBezTo>
                    <a:pt x="65" y="50"/>
                    <a:pt x="66" y="51"/>
                    <a:pt x="67" y="51"/>
                  </a:cubicBezTo>
                  <a:cubicBezTo>
                    <a:pt x="73" y="51"/>
                    <a:pt x="77" y="44"/>
                    <a:pt x="74" y="38"/>
                  </a:cubicBezTo>
                  <a:cubicBezTo>
                    <a:pt x="65" y="18"/>
                    <a:pt x="37" y="10"/>
                    <a:pt x="19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Freeform 3166"/>
            <p:cNvSpPr/>
            <p:nvPr userDrawn="1"/>
          </p:nvSpPr>
          <p:spPr bwMode="auto">
            <a:xfrm>
              <a:off x="7604954" y="5143278"/>
              <a:ext cx="41530" cy="18756"/>
            </a:xfrm>
            <a:custGeom>
              <a:avLst/>
              <a:gdLst>
                <a:gd name="T0" fmla="*/ 0 w 23"/>
                <a:gd name="T1" fmla="*/ 0 h 10"/>
                <a:gd name="T2" fmla="*/ 23 w 23"/>
                <a:gd name="T3" fmla="*/ 10 h 10"/>
                <a:gd name="T4" fmla="*/ 6 w 23"/>
                <a:gd name="T5" fmla="*/ 3 h 10"/>
                <a:gd name="T6" fmla="*/ 0 w 2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0">
                  <a:moveTo>
                    <a:pt x="0" y="0"/>
                  </a:moveTo>
                  <a:cubicBezTo>
                    <a:pt x="7" y="5"/>
                    <a:pt x="14" y="9"/>
                    <a:pt x="23" y="10"/>
                  </a:cubicBezTo>
                  <a:cubicBezTo>
                    <a:pt x="17" y="8"/>
                    <a:pt x="12" y="6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Freeform 3167"/>
            <p:cNvSpPr/>
            <p:nvPr userDrawn="1"/>
          </p:nvSpPr>
          <p:spPr bwMode="auto">
            <a:xfrm>
              <a:off x="7621030" y="5176770"/>
              <a:ext cx="40191" cy="13397"/>
            </a:xfrm>
            <a:custGeom>
              <a:avLst/>
              <a:gdLst>
                <a:gd name="T0" fmla="*/ 0 w 22"/>
                <a:gd name="T1" fmla="*/ 0 h 7"/>
                <a:gd name="T2" fmla="*/ 17 w 22"/>
                <a:gd name="T3" fmla="*/ 7 h 7"/>
                <a:gd name="T4" fmla="*/ 22 w 22"/>
                <a:gd name="T5" fmla="*/ 6 h 7"/>
                <a:gd name="T6" fmla="*/ 15 w 22"/>
                <a:gd name="T7" fmla="*/ 3 h 7"/>
                <a:gd name="T8" fmla="*/ 10 w 22"/>
                <a:gd name="T9" fmla="*/ 0 h 7"/>
                <a:gd name="T10" fmla="*/ 5 w 22"/>
                <a:gd name="T11" fmla="*/ 0 h 7"/>
                <a:gd name="T12" fmla="*/ 0 w 2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0"/>
                  </a:moveTo>
                  <a:cubicBezTo>
                    <a:pt x="6" y="5"/>
                    <a:pt x="12" y="7"/>
                    <a:pt x="17" y="7"/>
                  </a:cubicBezTo>
                  <a:cubicBezTo>
                    <a:pt x="19" y="7"/>
                    <a:pt x="20" y="7"/>
                    <a:pt x="22" y="6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3" y="2"/>
                    <a:pt x="11" y="1"/>
                    <a:pt x="10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Freeform 3168"/>
            <p:cNvSpPr/>
            <p:nvPr userDrawn="1"/>
          </p:nvSpPr>
          <p:spPr bwMode="auto">
            <a:xfrm>
              <a:off x="7570122" y="5160694"/>
              <a:ext cx="100476" cy="30813"/>
            </a:xfrm>
            <a:custGeom>
              <a:avLst/>
              <a:gdLst>
                <a:gd name="T0" fmla="*/ 0 w 55"/>
                <a:gd name="T1" fmla="*/ 0 h 17"/>
                <a:gd name="T2" fmla="*/ 21 w 55"/>
                <a:gd name="T3" fmla="*/ 12 h 17"/>
                <a:gd name="T4" fmla="*/ 47 w 55"/>
                <a:gd name="T5" fmla="*/ 17 h 17"/>
                <a:gd name="T6" fmla="*/ 47 w 55"/>
                <a:gd name="T7" fmla="*/ 17 h 17"/>
                <a:gd name="T8" fmla="*/ 49 w 55"/>
                <a:gd name="T9" fmla="*/ 4 h 17"/>
                <a:gd name="T10" fmla="*/ 46 w 55"/>
                <a:gd name="T11" fmla="*/ 3 h 17"/>
                <a:gd name="T12" fmla="*/ 45 w 55"/>
                <a:gd name="T13" fmla="*/ 8 h 17"/>
                <a:gd name="T14" fmla="*/ 38 w 55"/>
                <a:gd name="T15" fmla="*/ 9 h 17"/>
                <a:gd name="T16" fmla="*/ 43 w 55"/>
                <a:gd name="T17" fmla="*/ 12 h 17"/>
                <a:gd name="T18" fmla="*/ 50 w 55"/>
                <a:gd name="T19" fmla="*/ 15 h 17"/>
                <a:gd name="T20" fmla="*/ 45 w 55"/>
                <a:gd name="T21" fmla="*/ 16 h 17"/>
                <a:gd name="T22" fmla="*/ 28 w 55"/>
                <a:gd name="T23" fmla="*/ 9 h 17"/>
                <a:gd name="T24" fmla="*/ 0 w 55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" h="17">
                  <a:moveTo>
                    <a:pt x="0" y="0"/>
                  </a:moveTo>
                  <a:cubicBezTo>
                    <a:pt x="4" y="7"/>
                    <a:pt x="13" y="9"/>
                    <a:pt x="21" y="12"/>
                  </a:cubicBezTo>
                  <a:cubicBezTo>
                    <a:pt x="29" y="14"/>
                    <a:pt x="38" y="16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54" y="17"/>
                    <a:pt x="55" y="6"/>
                    <a:pt x="49" y="4"/>
                  </a:cubicBezTo>
                  <a:cubicBezTo>
                    <a:pt x="48" y="3"/>
                    <a:pt x="47" y="3"/>
                    <a:pt x="46" y="3"/>
                  </a:cubicBezTo>
                  <a:cubicBezTo>
                    <a:pt x="48" y="4"/>
                    <a:pt x="47" y="7"/>
                    <a:pt x="45" y="8"/>
                  </a:cubicBezTo>
                  <a:cubicBezTo>
                    <a:pt x="43" y="8"/>
                    <a:pt x="40" y="9"/>
                    <a:pt x="38" y="9"/>
                  </a:cubicBezTo>
                  <a:cubicBezTo>
                    <a:pt x="39" y="10"/>
                    <a:pt x="41" y="11"/>
                    <a:pt x="43" y="12"/>
                  </a:cubicBezTo>
                  <a:cubicBezTo>
                    <a:pt x="45" y="13"/>
                    <a:pt x="47" y="14"/>
                    <a:pt x="50" y="15"/>
                  </a:cubicBezTo>
                  <a:cubicBezTo>
                    <a:pt x="48" y="16"/>
                    <a:pt x="47" y="16"/>
                    <a:pt x="45" y="16"/>
                  </a:cubicBezTo>
                  <a:cubicBezTo>
                    <a:pt x="40" y="16"/>
                    <a:pt x="34" y="14"/>
                    <a:pt x="28" y="9"/>
                  </a:cubicBezTo>
                  <a:cubicBezTo>
                    <a:pt x="18" y="8"/>
                    <a:pt x="9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Freeform 3169"/>
            <p:cNvSpPr/>
            <p:nvPr userDrawn="1"/>
          </p:nvSpPr>
          <p:spPr bwMode="auto">
            <a:xfrm>
              <a:off x="7599595" y="5151316"/>
              <a:ext cx="40191" cy="25454"/>
            </a:xfrm>
            <a:custGeom>
              <a:avLst/>
              <a:gdLst>
                <a:gd name="T0" fmla="*/ 0 w 22"/>
                <a:gd name="T1" fmla="*/ 0 h 14"/>
                <a:gd name="T2" fmla="*/ 7 w 22"/>
                <a:gd name="T3" fmla="*/ 9 h 14"/>
                <a:gd name="T4" fmla="*/ 12 w 22"/>
                <a:gd name="T5" fmla="*/ 14 h 14"/>
                <a:gd name="T6" fmla="*/ 17 w 22"/>
                <a:gd name="T7" fmla="*/ 14 h 14"/>
                <a:gd name="T8" fmla="*/ 22 w 22"/>
                <a:gd name="T9" fmla="*/ 14 h 14"/>
                <a:gd name="T10" fmla="*/ 0 w 22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4">
                  <a:moveTo>
                    <a:pt x="0" y="0"/>
                  </a:moveTo>
                  <a:cubicBezTo>
                    <a:pt x="2" y="3"/>
                    <a:pt x="4" y="6"/>
                    <a:pt x="7" y="9"/>
                  </a:cubicBezTo>
                  <a:cubicBezTo>
                    <a:pt x="8" y="11"/>
                    <a:pt x="10" y="13"/>
                    <a:pt x="12" y="14"/>
                  </a:cubicBezTo>
                  <a:cubicBezTo>
                    <a:pt x="13" y="14"/>
                    <a:pt x="15" y="14"/>
                    <a:pt x="17" y="14"/>
                  </a:cubicBezTo>
                  <a:cubicBezTo>
                    <a:pt x="19" y="14"/>
                    <a:pt x="20" y="14"/>
                    <a:pt x="22" y="14"/>
                  </a:cubicBezTo>
                  <a:cubicBezTo>
                    <a:pt x="15" y="10"/>
                    <a:pt x="7" y="5"/>
                    <a:pt x="0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Freeform 3170"/>
            <p:cNvSpPr/>
            <p:nvPr userDrawn="1"/>
          </p:nvSpPr>
          <p:spPr bwMode="auto">
            <a:xfrm>
              <a:off x="7562084" y="5136580"/>
              <a:ext cx="95118" cy="40191"/>
            </a:xfrm>
            <a:custGeom>
              <a:avLst/>
              <a:gdLst>
                <a:gd name="T0" fmla="*/ 11 w 52"/>
                <a:gd name="T1" fmla="*/ 0 h 22"/>
                <a:gd name="T2" fmla="*/ 8 w 52"/>
                <a:gd name="T3" fmla="*/ 0 h 22"/>
                <a:gd name="T4" fmla="*/ 2 w 52"/>
                <a:gd name="T5" fmla="*/ 9 h 22"/>
                <a:gd name="T6" fmla="*/ 4 w 52"/>
                <a:gd name="T7" fmla="*/ 13 h 22"/>
                <a:gd name="T8" fmla="*/ 32 w 52"/>
                <a:gd name="T9" fmla="*/ 22 h 22"/>
                <a:gd name="T10" fmla="*/ 27 w 52"/>
                <a:gd name="T11" fmla="*/ 17 h 22"/>
                <a:gd name="T12" fmla="*/ 20 w 52"/>
                <a:gd name="T13" fmla="*/ 8 h 22"/>
                <a:gd name="T14" fmla="*/ 42 w 52"/>
                <a:gd name="T15" fmla="*/ 22 h 22"/>
                <a:gd name="T16" fmla="*/ 49 w 52"/>
                <a:gd name="T17" fmla="*/ 21 h 22"/>
                <a:gd name="T18" fmla="*/ 50 w 52"/>
                <a:gd name="T19" fmla="*/ 16 h 22"/>
                <a:gd name="T20" fmla="*/ 46 w 52"/>
                <a:gd name="T21" fmla="*/ 14 h 22"/>
                <a:gd name="T22" fmla="*/ 23 w 52"/>
                <a:gd name="T23" fmla="*/ 4 h 22"/>
                <a:gd name="T24" fmla="*/ 11 w 52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22">
                  <a:moveTo>
                    <a:pt x="11" y="0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4" y="1"/>
                    <a:pt x="0" y="5"/>
                    <a:pt x="2" y="9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13" y="18"/>
                    <a:pt x="22" y="21"/>
                    <a:pt x="32" y="22"/>
                  </a:cubicBezTo>
                  <a:cubicBezTo>
                    <a:pt x="30" y="21"/>
                    <a:pt x="28" y="19"/>
                    <a:pt x="27" y="17"/>
                  </a:cubicBezTo>
                  <a:cubicBezTo>
                    <a:pt x="24" y="14"/>
                    <a:pt x="22" y="11"/>
                    <a:pt x="20" y="8"/>
                  </a:cubicBezTo>
                  <a:cubicBezTo>
                    <a:pt x="27" y="13"/>
                    <a:pt x="35" y="18"/>
                    <a:pt x="42" y="22"/>
                  </a:cubicBezTo>
                  <a:cubicBezTo>
                    <a:pt x="44" y="22"/>
                    <a:pt x="47" y="21"/>
                    <a:pt x="49" y="21"/>
                  </a:cubicBezTo>
                  <a:cubicBezTo>
                    <a:pt x="51" y="20"/>
                    <a:pt x="52" y="17"/>
                    <a:pt x="50" y="16"/>
                  </a:cubicBezTo>
                  <a:cubicBezTo>
                    <a:pt x="49" y="15"/>
                    <a:pt x="47" y="15"/>
                    <a:pt x="46" y="14"/>
                  </a:cubicBezTo>
                  <a:cubicBezTo>
                    <a:pt x="37" y="13"/>
                    <a:pt x="30" y="9"/>
                    <a:pt x="23" y="4"/>
                  </a:cubicBezTo>
                  <a:cubicBezTo>
                    <a:pt x="19" y="2"/>
                    <a:pt x="15" y="0"/>
                    <a:pt x="11" y="0"/>
                  </a:cubicBezTo>
                </a:path>
              </a:pathLst>
            </a:custGeom>
            <a:solidFill>
              <a:srgbClr val="B04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Freeform 3171"/>
            <p:cNvSpPr/>
            <p:nvPr userDrawn="1"/>
          </p:nvSpPr>
          <p:spPr bwMode="auto">
            <a:xfrm>
              <a:off x="7725525" y="5286625"/>
              <a:ext cx="40191" cy="30813"/>
            </a:xfrm>
            <a:custGeom>
              <a:avLst/>
              <a:gdLst>
                <a:gd name="T0" fmla="*/ 11 w 22"/>
                <a:gd name="T1" fmla="*/ 0 h 17"/>
                <a:gd name="T2" fmla="*/ 11 w 22"/>
                <a:gd name="T3" fmla="*/ 17 h 17"/>
                <a:gd name="T4" fmla="*/ 11 w 22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7">
                  <a:moveTo>
                    <a:pt x="11" y="0"/>
                  </a:moveTo>
                  <a:cubicBezTo>
                    <a:pt x="1" y="0"/>
                    <a:pt x="0" y="17"/>
                    <a:pt x="11" y="17"/>
                  </a:cubicBezTo>
                  <a:cubicBezTo>
                    <a:pt x="21" y="17"/>
                    <a:pt x="2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Freeform 3172"/>
            <p:cNvSpPr/>
            <p:nvPr userDrawn="1"/>
          </p:nvSpPr>
          <p:spPr bwMode="auto">
            <a:xfrm>
              <a:off x="7651843" y="5101748"/>
              <a:ext cx="17416" cy="10717"/>
            </a:xfrm>
            <a:custGeom>
              <a:avLst/>
              <a:gdLst>
                <a:gd name="T0" fmla="*/ 5 w 9"/>
                <a:gd name="T1" fmla="*/ 0 h 6"/>
                <a:gd name="T2" fmla="*/ 4 w 9"/>
                <a:gd name="T3" fmla="*/ 6 h 6"/>
                <a:gd name="T4" fmla="*/ 5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0" y="0"/>
                    <a:pt x="0" y="6"/>
                    <a:pt x="4" y="6"/>
                  </a:cubicBezTo>
                  <a:cubicBezTo>
                    <a:pt x="8" y="6"/>
                    <a:pt x="9" y="0"/>
                    <a:pt x="5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Freeform 3173"/>
            <p:cNvSpPr/>
            <p:nvPr userDrawn="1"/>
          </p:nvSpPr>
          <p:spPr bwMode="auto">
            <a:xfrm>
              <a:off x="7899685" y="5178110"/>
              <a:ext cx="34832" cy="32152"/>
            </a:xfrm>
            <a:custGeom>
              <a:avLst/>
              <a:gdLst>
                <a:gd name="T0" fmla="*/ 10 w 19"/>
                <a:gd name="T1" fmla="*/ 0 h 17"/>
                <a:gd name="T2" fmla="*/ 4 w 19"/>
                <a:gd name="T3" fmla="*/ 2 h 17"/>
                <a:gd name="T4" fmla="*/ 4 w 19"/>
                <a:gd name="T5" fmla="*/ 15 h 17"/>
                <a:gd name="T6" fmla="*/ 10 w 19"/>
                <a:gd name="T7" fmla="*/ 17 h 17"/>
                <a:gd name="T8" fmla="*/ 13 w 19"/>
                <a:gd name="T9" fmla="*/ 16 h 17"/>
                <a:gd name="T10" fmla="*/ 13 w 19"/>
                <a:gd name="T11" fmla="*/ 16 h 17"/>
                <a:gd name="T12" fmla="*/ 18 w 19"/>
                <a:gd name="T13" fmla="*/ 12 h 17"/>
                <a:gd name="T14" fmla="*/ 18 w 19"/>
                <a:gd name="T15" fmla="*/ 5 h 17"/>
                <a:gd name="T16" fmla="*/ 10 w 19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7">
                  <a:moveTo>
                    <a:pt x="10" y="0"/>
                  </a:moveTo>
                  <a:cubicBezTo>
                    <a:pt x="8" y="0"/>
                    <a:pt x="6" y="1"/>
                    <a:pt x="4" y="2"/>
                  </a:cubicBezTo>
                  <a:cubicBezTo>
                    <a:pt x="0" y="6"/>
                    <a:pt x="1" y="11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1" y="17"/>
                    <a:pt x="12" y="17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6"/>
                    <a:pt x="17" y="14"/>
                    <a:pt x="18" y="12"/>
                  </a:cubicBezTo>
                  <a:cubicBezTo>
                    <a:pt x="19" y="9"/>
                    <a:pt x="19" y="7"/>
                    <a:pt x="18" y="5"/>
                  </a:cubicBezTo>
                  <a:cubicBezTo>
                    <a:pt x="16" y="1"/>
                    <a:pt x="13" y="0"/>
                    <a:pt x="10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Freeform 3174"/>
            <p:cNvSpPr/>
            <p:nvPr userDrawn="1"/>
          </p:nvSpPr>
          <p:spPr bwMode="auto">
            <a:xfrm>
              <a:off x="7980066" y="5302701"/>
              <a:ext cx="25454" cy="18756"/>
            </a:xfrm>
            <a:custGeom>
              <a:avLst/>
              <a:gdLst>
                <a:gd name="T0" fmla="*/ 7 w 14"/>
                <a:gd name="T1" fmla="*/ 0 h 10"/>
                <a:gd name="T2" fmla="*/ 7 w 14"/>
                <a:gd name="T3" fmla="*/ 10 h 10"/>
                <a:gd name="T4" fmla="*/ 7 w 1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0">
                  <a:moveTo>
                    <a:pt x="7" y="0"/>
                  </a:moveTo>
                  <a:cubicBezTo>
                    <a:pt x="14" y="0"/>
                    <a:pt x="13" y="10"/>
                    <a:pt x="7" y="10"/>
                  </a:cubicBezTo>
                  <a:cubicBezTo>
                    <a:pt x="0" y="10"/>
                    <a:pt x="1" y="0"/>
                    <a:pt x="7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Freeform 3175"/>
            <p:cNvSpPr/>
            <p:nvPr userDrawn="1"/>
          </p:nvSpPr>
          <p:spPr bwMode="auto">
            <a:xfrm>
              <a:off x="7671938" y="5377723"/>
              <a:ext cx="211670" cy="109854"/>
            </a:xfrm>
            <a:custGeom>
              <a:avLst/>
              <a:gdLst>
                <a:gd name="T0" fmla="*/ 11 w 115"/>
                <a:gd name="T1" fmla="*/ 0 h 60"/>
                <a:gd name="T2" fmla="*/ 9 w 115"/>
                <a:gd name="T3" fmla="*/ 16 h 60"/>
                <a:gd name="T4" fmla="*/ 100 w 115"/>
                <a:gd name="T5" fmla="*/ 60 h 60"/>
                <a:gd name="T6" fmla="*/ 102 w 115"/>
                <a:gd name="T7" fmla="*/ 60 h 60"/>
                <a:gd name="T8" fmla="*/ 105 w 115"/>
                <a:gd name="T9" fmla="*/ 44 h 60"/>
                <a:gd name="T10" fmla="*/ 66 w 115"/>
                <a:gd name="T11" fmla="*/ 25 h 60"/>
                <a:gd name="T12" fmla="*/ 14 w 115"/>
                <a:gd name="T13" fmla="*/ 0 h 60"/>
                <a:gd name="T14" fmla="*/ 11 w 115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60">
                  <a:moveTo>
                    <a:pt x="11" y="0"/>
                  </a:moveTo>
                  <a:cubicBezTo>
                    <a:pt x="3" y="0"/>
                    <a:pt x="0" y="13"/>
                    <a:pt x="9" y="16"/>
                  </a:cubicBezTo>
                  <a:cubicBezTo>
                    <a:pt x="42" y="25"/>
                    <a:pt x="67" y="51"/>
                    <a:pt x="100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11" y="60"/>
                    <a:pt x="115" y="47"/>
                    <a:pt x="105" y="44"/>
                  </a:cubicBezTo>
                  <a:cubicBezTo>
                    <a:pt x="92" y="40"/>
                    <a:pt x="79" y="32"/>
                    <a:pt x="66" y="25"/>
                  </a:cubicBezTo>
                  <a:cubicBezTo>
                    <a:pt x="59" y="7"/>
                    <a:pt x="34" y="7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1" name="Freeform 3176"/>
            <p:cNvSpPr/>
            <p:nvPr userDrawn="1"/>
          </p:nvSpPr>
          <p:spPr bwMode="auto">
            <a:xfrm>
              <a:off x="7600935" y="5306720"/>
              <a:ext cx="24114" cy="18756"/>
            </a:xfrm>
            <a:custGeom>
              <a:avLst/>
              <a:gdLst>
                <a:gd name="T0" fmla="*/ 7 w 13"/>
                <a:gd name="T1" fmla="*/ 0 h 10"/>
                <a:gd name="T2" fmla="*/ 6 w 13"/>
                <a:gd name="T3" fmla="*/ 10 h 10"/>
                <a:gd name="T4" fmla="*/ 7 w 13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7" y="0"/>
                  </a:moveTo>
                  <a:cubicBezTo>
                    <a:pt x="0" y="0"/>
                    <a:pt x="0" y="10"/>
                    <a:pt x="6" y="10"/>
                  </a:cubicBezTo>
                  <a:cubicBezTo>
                    <a:pt x="13" y="10"/>
                    <a:pt x="13" y="0"/>
                    <a:pt x="7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2" name="Freeform 3177"/>
            <p:cNvSpPr/>
            <p:nvPr userDrawn="1"/>
          </p:nvSpPr>
          <p:spPr bwMode="auto">
            <a:xfrm>
              <a:off x="7685335" y="5490257"/>
              <a:ext cx="18756" cy="17416"/>
            </a:xfrm>
            <a:custGeom>
              <a:avLst/>
              <a:gdLst>
                <a:gd name="T0" fmla="*/ 1 w 10"/>
                <a:gd name="T1" fmla="*/ 0 h 10"/>
                <a:gd name="T2" fmla="*/ 0 w 10"/>
                <a:gd name="T3" fmla="*/ 0 h 10"/>
                <a:gd name="T4" fmla="*/ 10 w 10"/>
                <a:gd name="T5" fmla="*/ 10 h 10"/>
                <a:gd name="T6" fmla="*/ 8 w 10"/>
                <a:gd name="T7" fmla="*/ 4 h 10"/>
                <a:gd name="T8" fmla="*/ 3 w 10"/>
                <a:gd name="T9" fmla="*/ 0 h 10"/>
                <a:gd name="T10" fmla="*/ 1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3" y="3"/>
                    <a:pt x="7" y="6"/>
                    <a:pt x="10" y="10"/>
                  </a:cubicBezTo>
                  <a:cubicBezTo>
                    <a:pt x="10" y="7"/>
                    <a:pt x="10" y="5"/>
                    <a:pt x="8" y="4"/>
                  </a:cubicBezTo>
                  <a:cubicBezTo>
                    <a:pt x="6" y="2"/>
                    <a:pt x="5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Freeform 3178"/>
            <p:cNvSpPr/>
            <p:nvPr userDrawn="1"/>
          </p:nvSpPr>
          <p:spPr bwMode="auto">
            <a:xfrm>
              <a:off x="7475004" y="5237056"/>
              <a:ext cx="96457" cy="64305"/>
            </a:xfrm>
            <a:custGeom>
              <a:avLst/>
              <a:gdLst>
                <a:gd name="T0" fmla="*/ 8 w 53"/>
                <a:gd name="T1" fmla="*/ 0 h 35"/>
                <a:gd name="T2" fmla="*/ 4 w 53"/>
                <a:gd name="T3" fmla="*/ 2 h 35"/>
                <a:gd name="T4" fmla="*/ 19 w 53"/>
                <a:gd name="T5" fmla="*/ 25 h 35"/>
                <a:gd name="T6" fmla="*/ 49 w 53"/>
                <a:gd name="T7" fmla="*/ 35 h 35"/>
                <a:gd name="T8" fmla="*/ 49 w 53"/>
                <a:gd name="T9" fmla="*/ 35 h 35"/>
                <a:gd name="T10" fmla="*/ 51 w 53"/>
                <a:gd name="T11" fmla="*/ 31 h 35"/>
                <a:gd name="T12" fmla="*/ 27 w 53"/>
                <a:gd name="T13" fmla="*/ 16 h 35"/>
                <a:gd name="T14" fmla="*/ 8 w 53"/>
                <a:gd name="T15" fmla="*/ 0 h 35"/>
                <a:gd name="T16" fmla="*/ 8 w 53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5">
                  <a:moveTo>
                    <a:pt x="8" y="0"/>
                  </a:moveTo>
                  <a:cubicBezTo>
                    <a:pt x="6" y="0"/>
                    <a:pt x="5" y="1"/>
                    <a:pt x="4" y="2"/>
                  </a:cubicBezTo>
                  <a:cubicBezTo>
                    <a:pt x="0" y="12"/>
                    <a:pt x="12" y="21"/>
                    <a:pt x="19" y="25"/>
                  </a:cubicBezTo>
                  <a:cubicBezTo>
                    <a:pt x="28" y="31"/>
                    <a:pt x="38" y="33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2" y="35"/>
                    <a:pt x="53" y="32"/>
                    <a:pt x="51" y="31"/>
                  </a:cubicBezTo>
                  <a:cubicBezTo>
                    <a:pt x="43" y="27"/>
                    <a:pt x="34" y="22"/>
                    <a:pt x="27" y="16"/>
                  </a:cubicBezTo>
                  <a:cubicBezTo>
                    <a:pt x="21" y="12"/>
                    <a:pt x="16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Freeform 3179"/>
            <p:cNvSpPr/>
            <p:nvPr userDrawn="1"/>
          </p:nvSpPr>
          <p:spPr bwMode="auto">
            <a:xfrm>
              <a:off x="7521893" y="5400498"/>
              <a:ext cx="203632" cy="146026"/>
            </a:xfrm>
            <a:custGeom>
              <a:avLst/>
              <a:gdLst>
                <a:gd name="T0" fmla="*/ 8 w 111"/>
                <a:gd name="T1" fmla="*/ 0 h 80"/>
                <a:gd name="T2" fmla="*/ 4 w 111"/>
                <a:gd name="T3" fmla="*/ 10 h 80"/>
                <a:gd name="T4" fmla="*/ 3 w 111"/>
                <a:gd name="T5" fmla="*/ 10 h 80"/>
                <a:gd name="T6" fmla="*/ 47 w 111"/>
                <a:gd name="T7" fmla="*/ 44 h 80"/>
                <a:gd name="T8" fmla="*/ 52 w 111"/>
                <a:gd name="T9" fmla="*/ 47 h 80"/>
                <a:gd name="T10" fmla="*/ 89 w 111"/>
                <a:gd name="T11" fmla="*/ 78 h 80"/>
                <a:gd name="T12" fmla="*/ 93 w 111"/>
                <a:gd name="T13" fmla="*/ 80 h 80"/>
                <a:gd name="T14" fmla="*/ 95 w 111"/>
                <a:gd name="T15" fmla="*/ 79 h 80"/>
                <a:gd name="T16" fmla="*/ 98 w 111"/>
                <a:gd name="T17" fmla="*/ 80 h 80"/>
                <a:gd name="T18" fmla="*/ 105 w 111"/>
                <a:gd name="T19" fmla="*/ 65 h 80"/>
                <a:gd name="T20" fmla="*/ 99 w 111"/>
                <a:gd name="T21" fmla="*/ 59 h 80"/>
                <a:gd name="T22" fmla="*/ 97 w 111"/>
                <a:gd name="T23" fmla="*/ 64 h 80"/>
                <a:gd name="T24" fmla="*/ 91 w 111"/>
                <a:gd name="T25" fmla="*/ 66 h 80"/>
                <a:gd name="T26" fmla="*/ 85 w 111"/>
                <a:gd name="T27" fmla="*/ 64 h 80"/>
                <a:gd name="T28" fmla="*/ 82 w 111"/>
                <a:gd name="T29" fmla="*/ 58 h 80"/>
                <a:gd name="T30" fmla="*/ 89 w 111"/>
                <a:gd name="T31" fmla="*/ 49 h 80"/>
                <a:gd name="T32" fmla="*/ 57 w 111"/>
                <a:gd name="T33" fmla="*/ 27 h 80"/>
                <a:gd name="T34" fmla="*/ 10 w 111"/>
                <a:gd name="T35" fmla="*/ 0 h 80"/>
                <a:gd name="T36" fmla="*/ 8 w 111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80">
                  <a:moveTo>
                    <a:pt x="8" y="0"/>
                  </a:moveTo>
                  <a:cubicBezTo>
                    <a:pt x="3" y="0"/>
                    <a:pt x="0" y="7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5" y="25"/>
                    <a:pt x="31" y="34"/>
                    <a:pt x="47" y="44"/>
                  </a:cubicBezTo>
                  <a:cubicBezTo>
                    <a:pt x="48" y="45"/>
                    <a:pt x="50" y="46"/>
                    <a:pt x="52" y="47"/>
                  </a:cubicBezTo>
                  <a:cubicBezTo>
                    <a:pt x="64" y="57"/>
                    <a:pt x="77" y="68"/>
                    <a:pt x="89" y="78"/>
                  </a:cubicBezTo>
                  <a:cubicBezTo>
                    <a:pt x="90" y="79"/>
                    <a:pt x="92" y="80"/>
                    <a:pt x="93" y="80"/>
                  </a:cubicBezTo>
                  <a:cubicBezTo>
                    <a:pt x="94" y="80"/>
                    <a:pt x="95" y="80"/>
                    <a:pt x="95" y="79"/>
                  </a:cubicBezTo>
                  <a:cubicBezTo>
                    <a:pt x="96" y="80"/>
                    <a:pt x="97" y="80"/>
                    <a:pt x="98" y="80"/>
                  </a:cubicBezTo>
                  <a:cubicBezTo>
                    <a:pt x="105" y="80"/>
                    <a:pt x="111" y="72"/>
                    <a:pt x="105" y="65"/>
                  </a:cubicBezTo>
                  <a:cubicBezTo>
                    <a:pt x="103" y="63"/>
                    <a:pt x="101" y="61"/>
                    <a:pt x="99" y="59"/>
                  </a:cubicBezTo>
                  <a:cubicBezTo>
                    <a:pt x="99" y="61"/>
                    <a:pt x="98" y="63"/>
                    <a:pt x="97" y="64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9" y="66"/>
                    <a:pt x="87" y="66"/>
                    <a:pt x="85" y="64"/>
                  </a:cubicBezTo>
                  <a:cubicBezTo>
                    <a:pt x="84" y="62"/>
                    <a:pt x="82" y="61"/>
                    <a:pt x="82" y="58"/>
                  </a:cubicBezTo>
                  <a:cubicBezTo>
                    <a:pt x="81" y="53"/>
                    <a:pt x="84" y="50"/>
                    <a:pt x="89" y="49"/>
                  </a:cubicBezTo>
                  <a:cubicBezTo>
                    <a:pt x="79" y="41"/>
                    <a:pt x="68" y="34"/>
                    <a:pt x="57" y="27"/>
                  </a:cubicBezTo>
                  <a:cubicBezTo>
                    <a:pt x="42" y="17"/>
                    <a:pt x="27" y="6"/>
                    <a:pt x="10" y="0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C35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Freeform 3180"/>
            <p:cNvSpPr/>
            <p:nvPr userDrawn="1"/>
          </p:nvSpPr>
          <p:spPr bwMode="auto">
            <a:xfrm>
              <a:off x="7670598" y="5490257"/>
              <a:ext cx="33492" cy="30813"/>
            </a:xfrm>
            <a:custGeom>
              <a:avLst/>
              <a:gdLst>
                <a:gd name="T0" fmla="*/ 8 w 18"/>
                <a:gd name="T1" fmla="*/ 0 h 17"/>
                <a:gd name="T2" fmla="*/ 1 w 18"/>
                <a:gd name="T3" fmla="*/ 9 h 17"/>
                <a:gd name="T4" fmla="*/ 4 w 18"/>
                <a:gd name="T5" fmla="*/ 15 h 17"/>
                <a:gd name="T6" fmla="*/ 10 w 18"/>
                <a:gd name="T7" fmla="*/ 17 h 17"/>
                <a:gd name="T8" fmla="*/ 16 w 18"/>
                <a:gd name="T9" fmla="*/ 15 h 17"/>
                <a:gd name="T10" fmla="*/ 18 w 18"/>
                <a:gd name="T11" fmla="*/ 10 h 17"/>
                <a:gd name="T12" fmla="*/ 8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8" y="0"/>
                  </a:moveTo>
                  <a:cubicBezTo>
                    <a:pt x="3" y="1"/>
                    <a:pt x="0" y="4"/>
                    <a:pt x="1" y="9"/>
                  </a:cubicBezTo>
                  <a:cubicBezTo>
                    <a:pt x="1" y="12"/>
                    <a:pt x="3" y="13"/>
                    <a:pt x="4" y="15"/>
                  </a:cubicBezTo>
                  <a:cubicBezTo>
                    <a:pt x="6" y="17"/>
                    <a:pt x="8" y="17"/>
                    <a:pt x="10" y="17"/>
                  </a:cubicBezTo>
                  <a:cubicBezTo>
                    <a:pt x="12" y="17"/>
                    <a:pt x="14" y="17"/>
                    <a:pt x="16" y="15"/>
                  </a:cubicBezTo>
                  <a:cubicBezTo>
                    <a:pt x="17" y="14"/>
                    <a:pt x="18" y="12"/>
                    <a:pt x="18" y="10"/>
                  </a:cubicBezTo>
                  <a:cubicBezTo>
                    <a:pt x="15" y="6"/>
                    <a:pt x="11" y="3"/>
                    <a:pt x="8" y="0"/>
                  </a:cubicBezTo>
                </a:path>
              </a:pathLst>
            </a:custGeom>
            <a:solidFill>
              <a:srgbClr val="B84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Freeform 3181"/>
            <p:cNvSpPr/>
            <p:nvPr userDrawn="1"/>
          </p:nvSpPr>
          <p:spPr bwMode="auto">
            <a:xfrm>
              <a:off x="7469645" y="5152656"/>
              <a:ext cx="408604" cy="409944"/>
            </a:xfrm>
            <a:custGeom>
              <a:avLst/>
              <a:gdLst>
                <a:gd name="T0" fmla="*/ 25 w 223"/>
                <a:gd name="T1" fmla="*/ 0 h 224"/>
                <a:gd name="T2" fmla="*/ 24 w 223"/>
                <a:gd name="T3" fmla="*/ 22 h 224"/>
                <a:gd name="T4" fmla="*/ 203 w 223"/>
                <a:gd name="T5" fmla="*/ 201 h 224"/>
                <a:gd name="T6" fmla="*/ 223 w 223"/>
                <a:gd name="T7" fmla="*/ 200 h 224"/>
                <a:gd name="T8" fmla="*/ 142 w 223"/>
                <a:gd name="T9" fmla="*/ 224 h 224"/>
                <a:gd name="T10" fmla="*/ 0 w 223"/>
                <a:gd name="T11" fmla="*/ 82 h 224"/>
                <a:gd name="T12" fmla="*/ 25 w 223"/>
                <a:gd name="T1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24">
                  <a:moveTo>
                    <a:pt x="25" y="0"/>
                  </a:moveTo>
                  <a:cubicBezTo>
                    <a:pt x="25" y="7"/>
                    <a:pt x="24" y="14"/>
                    <a:pt x="24" y="22"/>
                  </a:cubicBezTo>
                  <a:cubicBezTo>
                    <a:pt x="24" y="119"/>
                    <a:pt x="105" y="201"/>
                    <a:pt x="203" y="201"/>
                  </a:cubicBezTo>
                  <a:cubicBezTo>
                    <a:pt x="210" y="201"/>
                    <a:pt x="216" y="201"/>
                    <a:pt x="223" y="200"/>
                  </a:cubicBezTo>
                  <a:cubicBezTo>
                    <a:pt x="200" y="215"/>
                    <a:pt x="172" y="224"/>
                    <a:pt x="142" y="224"/>
                  </a:cubicBezTo>
                  <a:cubicBezTo>
                    <a:pt x="64" y="224"/>
                    <a:pt x="0" y="160"/>
                    <a:pt x="0" y="82"/>
                  </a:cubicBezTo>
                  <a:cubicBezTo>
                    <a:pt x="0" y="51"/>
                    <a:pt x="9" y="23"/>
                    <a:pt x="25" y="0"/>
                  </a:cubicBezTo>
                  <a:close/>
                </a:path>
              </a:pathLst>
            </a:custGeom>
            <a:solidFill>
              <a:srgbClr val="9E4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Freeform 3211"/>
            <p:cNvSpPr/>
            <p:nvPr userDrawn="1"/>
          </p:nvSpPr>
          <p:spPr bwMode="auto">
            <a:xfrm>
              <a:off x="9901175" y="2605913"/>
              <a:ext cx="148705" cy="136648"/>
            </a:xfrm>
            <a:custGeom>
              <a:avLst/>
              <a:gdLst>
                <a:gd name="T0" fmla="*/ 55 w 111"/>
                <a:gd name="T1" fmla="*/ 0 h 102"/>
                <a:gd name="T2" fmla="*/ 69 w 111"/>
                <a:gd name="T3" fmla="*/ 39 h 102"/>
                <a:gd name="T4" fmla="*/ 111 w 111"/>
                <a:gd name="T5" fmla="*/ 39 h 102"/>
                <a:gd name="T6" fmla="*/ 77 w 111"/>
                <a:gd name="T7" fmla="*/ 64 h 102"/>
                <a:gd name="T8" fmla="*/ 89 w 111"/>
                <a:gd name="T9" fmla="*/ 102 h 102"/>
                <a:gd name="T10" fmla="*/ 55 w 111"/>
                <a:gd name="T11" fmla="*/ 78 h 102"/>
                <a:gd name="T12" fmla="*/ 22 w 111"/>
                <a:gd name="T13" fmla="*/ 102 h 102"/>
                <a:gd name="T14" fmla="*/ 34 w 111"/>
                <a:gd name="T15" fmla="*/ 64 h 102"/>
                <a:gd name="T16" fmla="*/ 0 w 111"/>
                <a:gd name="T17" fmla="*/ 39 h 102"/>
                <a:gd name="T18" fmla="*/ 43 w 111"/>
                <a:gd name="T19" fmla="*/ 39 h 102"/>
                <a:gd name="T20" fmla="*/ 55 w 11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" h="102">
                  <a:moveTo>
                    <a:pt x="55" y="0"/>
                  </a:moveTo>
                  <a:lnTo>
                    <a:pt x="69" y="39"/>
                  </a:lnTo>
                  <a:lnTo>
                    <a:pt x="111" y="39"/>
                  </a:lnTo>
                  <a:lnTo>
                    <a:pt x="77" y="64"/>
                  </a:lnTo>
                  <a:lnTo>
                    <a:pt x="89" y="102"/>
                  </a:lnTo>
                  <a:lnTo>
                    <a:pt x="55" y="78"/>
                  </a:lnTo>
                  <a:lnTo>
                    <a:pt x="22" y="102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3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Freeform 3215"/>
            <p:cNvSpPr/>
            <p:nvPr userDrawn="1"/>
          </p:nvSpPr>
          <p:spPr bwMode="auto">
            <a:xfrm>
              <a:off x="7903704" y="3812970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8 w 109"/>
                <a:gd name="T3" fmla="*/ 39 h 103"/>
                <a:gd name="T4" fmla="*/ 109 w 109"/>
                <a:gd name="T5" fmla="*/ 39 h 103"/>
                <a:gd name="T6" fmla="*/ 76 w 109"/>
                <a:gd name="T7" fmla="*/ 64 h 103"/>
                <a:gd name="T8" fmla="*/ 89 w 109"/>
                <a:gd name="T9" fmla="*/ 103 h 103"/>
                <a:gd name="T10" fmla="*/ 55 w 109"/>
                <a:gd name="T11" fmla="*/ 79 h 103"/>
                <a:gd name="T12" fmla="*/ 22 w 109"/>
                <a:gd name="T13" fmla="*/ 103 h 103"/>
                <a:gd name="T14" fmla="*/ 34 w 109"/>
                <a:gd name="T15" fmla="*/ 64 h 103"/>
                <a:gd name="T16" fmla="*/ 0 w 109"/>
                <a:gd name="T17" fmla="*/ 39 h 103"/>
                <a:gd name="T18" fmla="*/ 42 w 109"/>
                <a:gd name="T19" fmla="*/ 39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8" y="39"/>
                  </a:lnTo>
                  <a:lnTo>
                    <a:pt x="109" y="39"/>
                  </a:lnTo>
                  <a:lnTo>
                    <a:pt x="76" y="64"/>
                  </a:lnTo>
                  <a:lnTo>
                    <a:pt x="89" y="103"/>
                  </a:lnTo>
                  <a:lnTo>
                    <a:pt x="55" y="79"/>
                  </a:lnTo>
                  <a:lnTo>
                    <a:pt x="22" y="103"/>
                  </a:lnTo>
                  <a:lnTo>
                    <a:pt x="34" y="64"/>
                  </a:lnTo>
                  <a:lnTo>
                    <a:pt x="0" y="39"/>
                  </a:lnTo>
                  <a:lnTo>
                    <a:pt x="42" y="39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Freeform 3216"/>
            <p:cNvSpPr/>
            <p:nvPr userDrawn="1"/>
          </p:nvSpPr>
          <p:spPr bwMode="auto">
            <a:xfrm>
              <a:off x="10273608" y="4604725"/>
              <a:ext cx="146026" cy="137988"/>
            </a:xfrm>
            <a:custGeom>
              <a:avLst/>
              <a:gdLst>
                <a:gd name="T0" fmla="*/ 55 w 109"/>
                <a:gd name="T1" fmla="*/ 0 h 103"/>
                <a:gd name="T2" fmla="*/ 67 w 109"/>
                <a:gd name="T3" fmla="*/ 40 h 103"/>
                <a:gd name="T4" fmla="*/ 109 w 109"/>
                <a:gd name="T5" fmla="*/ 40 h 103"/>
                <a:gd name="T6" fmla="*/ 75 w 109"/>
                <a:gd name="T7" fmla="*/ 63 h 103"/>
                <a:gd name="T8" fmla="*/ 89 w 109"/>
                <a:gd name="T9" fmla="*/ 103 h 103"/>
                <a:gd name="T10" fmla="*/ 55 w 109"/>
                <a:gd name="T11" fmla="*/ 77 h 103"/>
                <a:gd name="T12" fmla="*/ 20 w 109"/>
                <a:gd name="T13" fmla="*/ 102 h 103"/>
                <a:gd name="T14" fmla="*/ 34 w 109"/>
                <a:gd name="T15" fmla="*/ 63 h 103"/>
                <a:gd name="T16" fmla="*/ 0 w 109"/>
                <a:gd name="T17" fmla="*/ 40 h 103"/>
                <a:gd name="T18" fmla="*/ 41 w 109"/>
                <a:gd name="T19" fmla="*/ 40 h 103"/>
                <a:gd name="T20" fmla="*/ 55 w 109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03">
                  <a:moveTo>
                    <a:pt x="55" y="0"/>
                  </a:moveTo>
                  <a:lnTo>
                    <a:pt x="67" y="40"/>
                  </a:lnTo>
                  <a:lnTo>
                    <a:pt x="109" y="40"/>
                  </a:lnTo>
                  <a:lnTo>
                    <a:pt x="75" y="63"/>
                  </a:lnTo>
                  <a:lnTo>
                    <a:pt x="89" y="103"/>
                  </a:lnTo>
                  <a:lnTo>
                    <a:pt x="55" y="77"/>
                  </a:lnTo>
                  <a:lnTo>
                    <a:pt x="20" y="102"/>
                  </a:lnTo>
                  <a:lnTo>
                    <a:pt x="34" y="63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C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Freeform 3217"/>
            <p:cNvSpPr/>
            <p:nvPr userDrawn="1"/>
          </p:nvSpPr>
          <p:spPr bwMode="auto">
            <a:xfrm>
              <a:off x="10805463" y="3523598"/>
              <a:ext cx="120572" cy="120572"/>
            </a:xfrm>
            <a:custGeom>
              <a:avLst/>
              <a:gdLst>
                <a:gd name="T0" fmla="*/ 38 w 90"/>
                <a:gd name="T1" fmla="*/ 38 h 90"/>
                <a:gd name="T2" fmla="*/ 45 w 90"/>
                <a:gd name="T3" fmla="*/ 0 h 90"/>
                <a:gd name="T4" fmla="*/ 50 w 90"/>
                <a:gd name="T5" fmla="*/ 38 h 90"/>
                <a:gd name="T6" fmla="*/ 90 w 90"/>
                <a:gd name="T7" fmla="*/ 45 h 90"/>
                <a:gd name="T8" fmla="*/ 50 w 90"/>
                <a:gd name="T9" fmla="*/ 50 h 90"/>
                <a:gd name="T10" fmla="*/ 44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38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38" y="38"/>
                  </a:moveTo>
                  <a:lnTo>
                    <a:pt x="45" y="0"/>
                  </a:lnTo>
                  <a:lnTo>
                    <a:pt x="50" y="38"/>
                  </a:lnTo>
                  <a:lnTo>
                    <a:pt x="90" y="45"/>
                  </a:lnTo>
                  <a:lnTo>
                    <a:pt x="50" y="50"/>
                  </a:lnTo>
                  <a:lnTo>
                    <a:pt x="44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38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Freeform 3218"/>
            <p:cNvSpPr/>
            <p:nvPr userDrawn="1"/>
          </p:nvSpPr>
          <p:spPr bwMode="auto">
            <a:xfrm>
              <a:off x="8521299" y="2305824"/>
              <a:ext cx="120572" cy="120572"/>
            </a:xfrm>
            <a:custGeom>
              <a:avLst/>
              <a:gdLst>
                <a:gd name="T0" fmla="*/ 40 w 90"/>
                <a:gd name="T1" fmla="*/ 38 h 90"/>
                <a:gd name="T2" fmla="*/ 45 w 90"/>
                <a:gd name="T3" fmla="*/ 0 h 90"/>
                <a:gd name="T4" fmla="*/ 51 w 90"/>
                <a:gd name="T5" fmla="*/ 38 h 90"/>
                <a:gd name="T6" fmla="*/ 90 w 90"/>
                <a:gd name="T7" fmla="*/ 45 h 90"/>
                <a:gd name="T8" fmla="*/ 51 w 90"/>
                <a:gd name="T9" fmla="*/ 50 h 90"/>
                <a:gd name="T10" fmla="*/ 45 w 90"/>
                <a:gd name="T11" fmla="*/ 90 h 90"/>
                <a:gd name="T12" fmla="*/ 38 w 90"/>
                <a:gd name="T13" fmla="*/ 50 h 90"/>
                <a:gd name="T14" fmla="*/ 0 w 90"/>
                <a:gd name="T15" fmla="*/ 45 h 90"/>
                <a:gd name="T16" fmla="*/ 40 w 90"/>
                <a:gd name="T17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40" y="38"/>
                  </a:moveTo>
                  <a:lnTo>
                    <a:pt x="45" y="0"/>
                  </a:lnTo>
                  <a:lnTo>
                    <a:pt x="51" y="38"/>
                  </a:lnTo>
                  <a:lnTo>
                    <a:pt x="90" y="45"/>
                  </a:lnTo>
                  <a:lnTo>
                    <a:pt x="51" y="50"/>
                  </a:lnTo>
                  <a:lnTo>
                    <a:pt x="45" y="90"/>
                  </a:lnTo>
                  <a:lnTo>
                    <a:pt x="38" y="50"/>
                  </a:lnTo>
                  <a:lnTo>
                    <a:pt x="0" y="45"/>
                  </a:lnTo>
                  <a:lnTo>
                    <a:pt x="40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Freeform 3219"/>
            <p:cNvSpPr/>
            <p:nvPr userDrawn="1"/>
          </p:nvSpPr>
          <p:spPr bwMode="auto">
            <a:xfrm>
              <a:off x="10861730" y="5377723"/>
              <a:ext cx="120572" cy="121911"/>
            </a:xfrm>
            <a:custGeom>
              <a:avLst/>
              <a:gdLst>
                <a:gd name="T0" fmla="*/ 38 w 90"/>
                <a:gd name="T1" fmla="*/ 39 h 91"/>
                <a:gd name="T2" fmla="*/ 45 w 90"/>
                <a:gd name="T3" fmla="*/ 0 h 91"/>
                <a:gd name="T4" fmla="*/ 51 w 90"/>
                <a:gd name="T5" fmla="*/ 39 h 91"/>
                <a:gd name="T6" fmla="*/ 90 w 90"/>
                <a:gd name="T7" fmla="*/ 45 h 91"/>
                <a:gd name="T8" fmla="*/ 51 w 90"/>
                <a:gd name="T9" fmla="*/ 51 h 91"/>
                <a:gd name="T10" fmla="*/ 45 w 90"/>
                <a:gd name="T11" fmla="*/ 91 h 91"/>
                <a:gd name="T12" fmla="*/ 38 w 90"/>
                <a:gd name="T13" fmla="*/ 51 h 91"/>
                <a:gd name="T14" fmla="*/ 0 w 90"/>
                <a:gd name="T15" fmla="*/ 44 h 91"/>
                <a:gd name="T16" fmla="*/ 38 w 90"/>
                <a:gd name="T17" fmla="*/ 3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1">
                  <a:moveTo>
                    <a:pt x="38" y="39"/>
                  </a:moveTo>
                  <a:lnTo>
                    <a:pt x="45" y="0"/>
                  </a:lnTo>
                  <a:lnTo>
                    <a:pt x="51" y="39"/>
                  </a:lnTo>
                  <a:lnTo>
                    <a:pt x="90" y="45"/>
                  </a:lnTo>
                  <a:lnTo>
                    <a:pt x="51" y="51"/>
                  </a:lnTo>
                  <a:lnTo>
                    <a:pt x="45" y="91"/>
                  </a:lnTo>
                  <a:lnTo>
                    <a:pt x="38" y="51"/>
                  </a:lnTo>
                  <a:lnTo>
                    <a:pt x="0" y="44"/>
                  </a:lnTo>
                  <a:lnTo>
                    <a:pt x="38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Oval 3226"/>
            <p:cNvSpPr>
              <a:spLocks noChangeArrowheads="1"/>
            </p:cNvSpPr>
            <p:nvPr userDrawn="1"/>
          </p:nvSpPr>
          <p:spPr bwMode="auto">
            <a:xfrm>
              <a:off x="10242795" y="3515560"/>
              <a:ext cx="56267" cy="57606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Oval 3230"/>
            <p:cNvSpPr>
              <a:spLocks noChangeArrowheads="1"/>
            </p:cNvSpPr>
            <p:nvPr userDrawn="1"/>
          </p:nvSpPr>
          <p:spPr bwMode="auto">
            <a:xfrm>
              <a:off x="9043776" y="4267124"/>
              <a:ext cx="56267" cy="56267"/>
            </a:xfrm>
            <a:prstGeom prst="ellipse">
              <a:avLst/>
            </a:prstGeom>
            <a:solidFill>
              <a:srgbClr val="347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任意多边形: 形状 124"/>
            <p:cNvSpPr/>
            <p:nvPr userDrawn="1"/>
          </p:nvSpPr>
          <p:spPr bwMode="auto">
            <a:xfrm>
              <a:off x="8803021" y="4644902"/>
              <a:ext cx="2379342" cy="2204153"/>
            </a:xfrm>
            <a:custGeom>
              <a:avLst/>
              <a:gdLst>
                <a:gd name="connsiteX0" fmla="*/ 124237 w 2590514"/>
                <a:gd name="connsiteY0" fmla="*/ 0 h 2399776"/>
                <a:gd name="connsiteX1" fmla="*/ 2544816 w 2590514"/>
                <a:gd name="connsiteY1" fmla="*/ 2355559 h 2399776"/>
                <a:gd name="connsiteX2" fmla="*/ 2590514 w 2590514"/>
                <a:gd name="connsiteY2" fmla="*/ 2399776 h 2399776"/>
                <a:gd name="connsiteX3" fmla="*/ 2217816 w 2590514"/>
                <a:gd name="connsiteY3" fmla="*/ 2399776 h 2399776"/>
                <a:gd name="connsiteX4" fmla="*/ 2202624 w 2590514"/>
                <a:gd name="connsiteY4" fmla="*/ 2384116 h 2399776"/>
                <a:gd name="connsiteX5" fmla="*/ 0 w 2590514"/>
                <a:gd name="connsiteY5" fmla="*/ 121854 h 2399776"/>
                <a:gd name="connsiteX6" fmla="*/ 124237 w 2590514"/>
                <a:gd name="connsiteY6" fmla="*/ 0 h 2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0514" h="2399776">
                  <a:moveTo>
                    <a:pt x="124237" y="0"/>
                  </a:moveTo>
                  <a:cubicBezTo>
                    <a:pt x="702713" y="558312"/>
                    <a:pt x="1828120" y="1661122"/>
                    <a:pt x="2544816" y="2355559"/>
                  </a:cubicBezTo>
                  <a:lnTo>
                    <a:pt x="2590514" y="2399776"/>
                  </a:lnTo>
                  <a:lnTo>
                    <a:pt x="2217816" y="2399776"/>
                  </a:lnTo>
                  <a:lnTo>
                    <a:pt x="2202624" y="2384116"/>
                  </a:lnTo>
                  <a:cubicBezTo>
                    <a:pt x="1508386" y="1669275"/>
                    <a:pt x="519131" y="660087"/>
                    <a:pt x="0" y="121854"/>
                  </a:cubicBezTo>
                  <a:cubicBezTo>
                    <a:pt x="51026" y="90836"/>
                    <a:pt x="90959" y="48742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6" name="任意多边形: 形状 125"/>
            <p:cNvSpPr/>
            <p:nvPr userDrawn="1"/>
          </p:nvSpPr>
          <p:spPr bwMode="auto">
            <a:xfrm>
              <a:off x="8996947" y="4835913"/>
              <a:ext cx="2099776" cy="1993278"/>
            </a:xfrm>
            <a:custGeom>
              <a:avLst/>
              <a:gdLst>
                <a:gd name="connsiteX0" fmla="*/ 70996 w 2286136"/>
                <a:gd name="connsiteY0" fmla="*/ 0 h 2170185"/>
                <a:gd name="connsiteX1" fmla="*/ 2254024 w 2286136"/>
                <a:gd name="connsiteY1" fmla="*/ 2138987 h 2170185"/>
                <a:gd name="connsiteX2" fmla="*/ 2286136 w 2286136"/>
                <a:gd name="connsiteY2" fmla="*/ 2170185 h 2170185"/>
                <a:gd name="connsiteX3" fmla="*/ 2056366 w 2286136"/>
                <a:gd name="connsiteY3" fmla="*/ 2170185 h 2170185"/>
                <a:gd name="connsiteX4" fmla="*/ 2021066 w 2286136"/>
                <a:gd name="connsiteY4" fmla="*/ 2133958 h 2170185"/>
                <a:gd name="connsiteX5" fmla="*/ 0 w 2286136"/>
                <a:gd name="connsiteY5" fmla="*/ 70910 h 2170185"/>
                <a:gd name="connsiteX6" fmla="*/ 70996 w 2286136"/>
                <a:gd name="connsiteY6" fmla="*/ 0 h 2170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6136" h="2170185">
                  <a:moveTo>
                    <a:pt x="70996" y="0"/>
                  </a:moveTo>
                  <a:cubicBezTo>
                    <a:pt x="563946" y="479891"/>
                    <a:pt x="1682834" y="1583018"/>
                    <a:pt x="2254024" y="2138987"/>
                  </a:cubicBezTo>
                  <a:lnTo>
                    <a:pt x="2286136" y="2170185"/>
                  </a:lnTo>
                  <a:lnTo>
                    <a:pt x="2056366" y="2170185"/>
                  </a:lnTo>
                  <a:lnTo>
                    <a:pt x="2021066" y="2133958"/>
                  </a:lnTo>
                  <a:cubicBezTo>
                    <a:pt x="1438256" y="1536760"/>
                    <a:pt x="446498" y="532381"/>
                    <a:pt x="0" y="70910"/>
                  </a:cubicBezTo>
                  <a:cubicBezTo>
                    <a:pt x="28842" y="55399"/>
                    <a:pt x="53247" y="31023"/>
                    <a:pt x="70996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 userDrawn="1"/>
          </p:nvSpPr>
          <p:spPr bwMode="auto">
            <a:xfrm>
              <a:off x="9873261" y="3335536"/>
              <a:ext cx="2317876" cy="2492810"/>
            </a:xfrm>
            <a:custGeom>
              <a:avLst/>
              <a:gdLst>
                <a:gd name="connsiteX0" fmla="*/ 124237 w 2523593"/>
                <a:gd name="connsiteY0" fmla="*/ 0 h 2714051"/>
                <a:gd name="connsiteX1" fmla="*/ 2385331 w 2523593"/>
                <a:gd name="connsiteY1" fmla="*/ 2200432 h 2714051"/>
                <a:gd name="connsiteX2" fmla="*/ 2523593 w 2523593"/>
                <a:gd name="connsiteY2" fmla="*/ 2334319 h 2714051"/>
                <a:gd name="connsiteX3" fmla="*/ 2523593 w 2523593"/>
                <a:gd name="connsiteY3" fmla="*/ 2714051 h 2714051"/>
                <a:gd name="connsiteX4" fmla="*/ 2499309 w 2523593"/>
                <a:gd name="connsiteY4" fmla="*/ 2688868 h 2714051"/>
                <a:gd name="connsiteX5" fmla="*/ 0 w 2523593"/>
                <a:gd name="connsiteY5" fmla="*/ 124000 h 2714051"/>
                <a:gd name="connsiteX6" fmla="*/ 124237 w 2523593"/>
                <a:gd name="connsiteY6" fmla="*/ 0 h 27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593" h="2714051">
                  <a:moveTo>
                    <a:pt x="124237" y="0"/>
                  </a:moveTo>
                  <a:cubicBezTo>
                    <a:pt x="661393" y="518141"/>
                    <a:pt x="1670139" y="1506971"/>
                    <a:pt x="2385331" y="2200432"/>
                  </a:cubicBezTo>
                  <a:lnTo>
                    <a:pt x="2523593" y="2334319"/>
                  </a:lnTo>
                  <a:lnTo>
                    <a:pt x="2523593" y="2714051"/>
                  </a:lnTo>
                  <a:lnTo>
                    <a:pt x="2499309" y="2688868"/>
                  </a:lnTo>
                  <a:cubicBezTo>
                    <a:pt x="1823901" y="1990090"/>
                    <a:pt x="598997" y="744689"/>
                    <a:pt x="0" y="124000"/>
                  </a:cubicBezTo>
                  <a:cubicBezTo>
                    <a:pt x="51026" y="90785"/>
                    <a:pt x="90959" y="50928"/>
                    <a:pt x="124237" y="0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 userDrawn="1"/>
          </p:nvSpPr>
          <p:spPr bwMode="auto">
            <a:xfrm>
              <a:off x="10064270" y="3528003"/>
              <a:ext cx="2126216" cy="2166724"/>
            </a:xfrm>
            <a:custGeom>
              <a:avLst/>
              <a:gdLst>
                <a:gd name="connsiteX0" fmla="*/ 73194 w 2314922"/>
                <a:gd name="connsiteY0" fmla="*/ 0 h 2359025"/>
                <a:gd name="connsiteX1" fmla="*/ 2255640 w 2314922"/>
                <a:gd name="connsiteY1" fmla="*/ 2138094 h 2359025"/>
                <a:gd name="connsiteX2" fmla="*/ 2314922 w 2314922"/>
                <a:gd name="connsiteY2" fmla="*/ 2195692 h 2359025"/>
                <a:gd name="connsiteX3" fmla="*/ 2314922 w 2314922"/>
                <a:gd name="connsiteY3" fmla="*/ 2302624 h 2359025"/>
                <a:gd name="connsiteX4" fmla="*/ 2310908 w 2314922"/>
                <a:gd name="connsiteY4" fmla="*/ 2307802 h 2359025"/>
                <a:gd name="connsiteX5" fmla="*/ 2244644 w 2314922"/>
                <a:gd name="connsiteY5" fmla="*/ 2359025 h 2359025"/>
                <a:gd name="connsiteX6" fmla="*/ 0 w 2314922"/>
                <a:gd name="connsiteY6" fmla="*/ 70882 h 2359025"/>
                <a:gd name="connsiteX7" fmla="*/ 73194 w 2314922"/>
                <a:gd name="connsiteY7" fmla="*/ 0 h 235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4922" h="2359025">
                  <a:moveTo>
                    <a:pt x="73194" y="0"/>
                  </a:moveTo>
                  <a:cubicBezTo>
                    <a:pt x="566014" y="477620"/>
                    <a:pt x="1684602" y="1582115"/>
                    <a:pt x="2255640" y="2138094"/>
                  </a:cubicBezTo>
                  <a:lnTo>
                    <a:pt x="2314922" y="2195692"/>
                  </a:lnTo>
                  <a:lnTo>
                    <a:pt x="2314922" y="2302624"/>
                  </a:lnTo>
                  <a:lnTo>
                    <a:pt x="2310908" y="2307802"/>
                  </a:lnTo>
                  <a:cubicBezTo>
                    <a:pt x="2291224" y="2327461"/>
                    <a:pt x="2269042" y="2344627"/>
                    <a:pt x="2244644" y="2359025"/>
                  </a:cubicBezTo>
                  <a:cubicBezTo>
                    <a:pt x="1734498" y="1834059"/>
                    <a:pt x="512364" y="595848"/>
                    <a:pt x="0" y="70882"/>
                  </a:cubicBezTo>
                  <a:cubicBezTo>
                    <a:pt x="31052" y="53161"/>
                    <a:pt x="55450" y="28796"/>
                    <a:pt x="73194" y="0"/>
                  </a:cubicBezTo>
                  <a:close/>
                </a:path>
              </a:pathLst>
            </a:custGeom>
            <a:solidFill>
              <a:srgbClr val="FDDF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29" name="Freeform 3238"/>
            <p:cNvSpPr/>
            <p:nvPr userDrawn="1"/>
          </p:nvSpPr>
          <p:spPr bwMode="auto">
            <a:xfrm>
              <a:off x="8024400" y="2657522"/>
              <a:ext cx="3987879" cy="4043289"/>
            </a:xfrm>
            <a:custGeom>
              <a:avLst/>
              <a:gdLst>
                <a:gd name="T0" fmla="*/ 1415 w 1957"/>
                <a:gd name="T1" fmla="*/ 1800 h 1987"/>
                <a:gd name="T2" fmla="*/ 1377 w 1957"/>
                <a:gd name="T3" fmla="*/ 1773 h 1987"/>
                <a:gd name="T4" fmla="*/ 1337 w 1957"/>
                <a:gd name="T5" fmla="*/ 1654 h 1987"/>
                <a:gd name="T6" fmla="*/ 1160 w 1957"/>
                <a:gd name="T7" fmla="*/ 1634 h 1987"/>
                <a:gd name="T8" fmla="*/ 1122 w 1957"/>
                <a:gd name="T9" fmla="*/ 1499 h 1987"/>
                <a:gd name="T10" fmla="*/ 1106 w 1957"/>
                <a:gd name="T11" fmla="*/ 1486 h 1987"/>
                <a:gd name="T12" fmla="*/ 1080 w 1957"/>
                <a:gd name="T13" fmla="*/ 1385 h 1987"/>
                <a:gd name="T14" fmla="*/ 956 w 1957"/>
                <a:gd name="T15" fmla="*/ 1346 h 1987"/>
                <a:gd name="T16" fmla="*/ 914 w 1957"/>
                <a:gd name="T17" fmla="*/ 1247 h 1987"/>
                <a:gd name="T18" fmla="*/ 876 w 1957"/>
                <a:gd name="T19" fmla="*/ 1223 h 1987"/>
                <a:gd name="T20" fmla="*/ 857 w 1957"/>
                <a:gd name="T21" fmla="*/ 1196 h 1987"/>
                <a:gd name="T22" fmla="*/ 771 w 1957"/>
                <a:gd name="T23" fmla="*/ 1156 h 1987"/>
                <a:gd name="T24" fmla="*/ 745 w 1957"/>
                <a:gd name="T25" fmla="*/ 991 h 1987"/>
                <a:gd name="T26" fmla="*/ 694 w 1957"/>
                <a:gd name="T27" fmla="*/ 963 h 1987"/>
                <a:gd name="T28" fmla="*/ 664 w 1957"/>
                <a:gd name="T29" fmla="*/ 889 h 1987"/>
                <a:gd name="T30" fmla="*/ 561 w 1957"/>
                <a:gd name="T31" fmla="*/ 864 h 1987"/>
                <a:gd name="T32" fmla="*/ 541 w 1957"/>
                <a:gd name="T33" fmla="*/ 746 h 1987"/>
                <a:gd name="T34" fmla="*/ 0 w 1957"/>
                <a:gd name="T35" fmla="*/ 168 h 1987"/>
                <a:gd name="T36" fmla="*/ 169 w 1957"/>
                <a:gd name="T37" fmla="*/ 0 h 1987"/>
                <a:gd name="T38" fmla="*/ 812 w 1957"/>
                <a:gd name="T39" fmla="*/ 603 h 1987"/>
                <a:gd name="T40" fmla="*/ 928 w 1957"/>
                <a:gd name="T41" fmla="*/ 622 h 1987"/>
                <a:gd name="T42" fmla="*/ 957 w 1957"/>
                <a:gd name="T43" fmla="*/ 712 h 1987"/>
                <a:gd name="T44" fmla="*/ 1049 w 1957"/>
                <a:gd name="T45" fmla="*/ 753 h 1987"/>
                <a:gd name="T46" fmla="*/ 1088 w 1957"/>
                <a:gd name="T47" fmla="*/ 830 h 1987"/>
                <a:gd name="T48" fmla="*/ 1236 w 1957"/>
                <a:gd name="T49" fmla="*/ 863 h 1987"/>
                <a:gd name="T50" fmla="*/ 1275 w 1957"/>
                <a:gd name="T51" fmla="*/ 994 h 1987"/>
                <a:gd name="T52" fmla="*/ 1418 w 1957"/>
                <a:gd name="T53" fmla="*/ 1028 h 1987"/>
                <a:gd name="T54" fmla="*/ 1458 w 1957"/>
                <a:gd name="T55" fmla="*/ 1142 h 1987"/>
                <a:gd name="T56" fmla="*/ 1526 w 1957"/>
                <a:gd name="T57" fmla="*/ 1179 h 1987"/>
                <a:gd name="T58" fmla="*/ 1553 w 1957"/>
                <a:gd name="T59" fmla="*/ 1218 h 1987"/>
                <a:gd name="T60" fmla="*/ 1713 w 1957"/>
                <a:gd name="T61" fmla="*/ 1247 h 1987"/>
                <a:gd name="T62" fmla="*/ 1755 w 1957"/>
                <a:gd name="T63" fmla="*/ 1345 h 1987"/>
                <a:gd name="T64" fmla="*/ 1813 w 1957"/>
                <a:gd name="T65" fmla="*/ 1373 h 1987"/>
                <a:gd name="T66" fmla="*/ 1843 w 1957"/>
                <a:gd name="T67" fmla="*/ 1437 h 1987"/>
                <a:gd name="T68" fmla="*/ 1917 w 1957"/>
                <a:gd name="T69" fmla="*/ 1466 h 1987"/>
                <a:gd name="T70" fmla="*/ 1917 w 1957"/>
                <a:gd name="T71" fmla="*/ 1612 h 1987"/>
                <a:gd name="T72" fmla="*/ 1902 w 1957"/>
                <a:gd name="T73" fmla="*/ 1624 h 1987"/>
                <a:gd name="T74" fmla="*/ 1909 w 1957"/>
                <a:gd name="T75" fmla="*/ 1631 h 1987"/>
                <a:gd name="T76" fmla="*/ 1694 w 1957"/>
                <a:gd name="T77" fmla="*/ 1857 h 1987"/>
                <a:gd name="T78" fmla="*/ 1655 w 1957"/>
                <a:gd name="T79" fmla="*/ 1931 h 1987"/>
                <a:gd name="T80" fmla="*/ 1453 w 1957"/>
                <a:gd name="T81" fmla="*/ 1931 h 1987"/>
                <a:gd name="T82" fmla="*/ 1415 w 1957"/>
                <a:gd name="T83" fmla="*/ 1800 h 1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57" h="1987">
                  <a:moveTo>
                    <a:pt x="1415" y="1800"/>
                  </a:moveTo>
                  <a:cubicBezTo>
                    <a:pt x="1401" y="1793"/>
                    <a:pt x="1388" y="1784"/>
                    <a:pt x="1377" y="1773"/>
                  </a:cubicBezTo>
                  <a:cubicBezTo>
                    <a:pt x="1344" y="1741"/>
                    <a:pt x="1331" y="1696"/>
                    <a:pt x="1337" y="1654"/>
                  </a:cubicBezTo>
                  <a:cubicBezTo>
                    <a:pt x="1281" y="1689"/>
                    <a:pt x="1208" y="1682"/>
                    <a:pt x="1160" y="1634"/>
                  </a:cubicBezTo>
                  <a:cubicBezTo>
                    <a:pt x="1123" y="1598"/>
                    <a:pt x="1111" y="1546"/>
                    <a:pt x="1122" y="1499"/>
                  </a:cubicBezTo>
                  <a:cubicBezTo>
                    <a:pt x="1117" y="1496"/>
                    <a:pt x="1111" y="1491"/>
                    <a:pt x="1106" y="1486"/>
                  </a:cubicBezTo>
                  <a:cubicBezTo>
                    <a:pt x="1079" y="1459"/>
                    <a:pt x="1070" y="1420"/>
                    <a:pt x="1080" y="1385"/>
                  </a:cubicBezTo>
                  <a:cubicBezTo>
                    <a:pt x="1036" y="1392"/>
                    <a:pt x="990" y="1380"/>
                    <a:pt x="956" y="1346"/>
                  </a:cubicBezTo>
                  <a:cubicBezTo>
                    <a:pt x="928" y="1318"/>
                    <a:pt x="915" y="1283"/>
                    <a:pt x="914" y="1247"/>
                  </a:cubicBezTo>
                  <a:cubicBezTo>
                    <a:pt x="900" y="1242"/>
                    <a:pt x="887" y="1234"/>
                    <a:pt x="876" y="1223"/>
                  </a:cubicBezTo>
                  <a:cubicBezTo>
                    <a:pt x="868" y="1215"/>
                    <a:pt x="862" y="1206"/>
                    <a:pt x="857" y="1196"/>
                  </a:cubicBezTo>
                  <a:cubicBezTo>
                    <a:pt x="826" y="1193"/>
                    <a:pt x="795" y="1180"/>
                    <a:pt x="771" y="1156"/>
                  </a:cubicBezTo>
                  <a:cubicBezTo>
                    <a:pt x="726" y="1111"/>
                    <a:pt x="718" y="1044"/>
                    <a:pt x="745" y="991"/>
                  </a:cubicBezTo>
                  <a:cubicBezTo>
                    <a:pt x="726" y="987"/>
                    <a:pt x="709" y="977"/>
                    <a:pt x="694" y="963"/>
                  </a:cubicBezTo>
                  <a:cubicBezTo>
                    <a:pt x="674" y="942"/>
                    <a:pt x="664" y="916"/>
                    <a:pt x="664" y="889"/>
                  </a:cubicBezTo>
                  <a:cubicBezTo>
                    <a:pt x="629" y="900"/>
                    <a:pt x="589" y="892"/>
                    <a:pt x="561" y="864"/>
                  </a:cubicBezTo>
                  <a:cubicBezTo>
                    <a:pt x="529" y="832"/>
                    <a:pt x="523" y="785"/>
                    <a:pt x="541" y="746"/>
                  </a:cubicBezTo>
                  <a:cubicBezTo>
                    <a:pt x="361" y="554"/>
                    <a:pt x="181" y="361"/>
                    <a:pt x="0" y="168"/>
                  </a:cubicBezTo>
                  <a:cubicBezTo>
                    <a:pt x="63" y="119"/>
                    <a:pt x="120" y="63"/>
                    <a:pt x="169" y="0"/>
                  </a:cubicBezTo>
                  <a:cubicBezTo>
                    <a:pt x="383" y="201"/>
                    <a:pt x="598" y="402"/>
                    <a:pt x="812" y="603"/>
                  </a:cubicBezTo>
                  <a:cubicBezTo>
                    <a:pt x="850" y="585"/>
                    <a:pt x="897" y="591"/>
                    <a:pt x="928" y="622"/>
                  </a:cubicBezTo>
                  <a:cubicBezTo>
                    <a:pt x="953" y="647"/>
                    <a:pt x="962" y="681"/>
                    <a:pt x="957" y="712"/>
                  </a:cubicBezTo>
                  <a:cubicBezTo>
                    <a:pt x="990" y="715"/>
                    <a:pt x="1023" y="728"/>
                    <a:pt x="1049" y="753"/>
                  </a:cubicBezTo>
                  <a:cubicBezTo>
                    <a:pt x="1070" y="775"/>
                    <a:pt x="1083" y="802"/>
                    <a:pt x="1088" y="830"/>
                  </a:cubicBezTo>
                  <a:cubicBezTo>
                    <a:pt x="1138" y="812"/>
                    <a:pt x="1196" y="823"/>
                    <a:pt x="1236" y="863"/>
                  </a:cubicBezTo>
                  <a:cubicBezTo>
                    <a:pt x="1272" y="898"/>
                    <a:pt x="1284" y="948"/>
                    <a:pt x="1275" y="994"/>
                  </a:cubicBezTo>
                  <a:cubicBezTo>
                    <a:pt x="1324" y="978"/>
                    <a:pt x="1379" y="990"/>
                    <a:pt x="1418" y="1028"/>
                  </a:cubicBezTo>
                  <a:cubicBezTo>
                    <a:pt x="1449" y="1059"/>
                    <a:pt x="1462" y="1101"/>
                    <a:pt x="1458" y="1142"/>
                  </a:cubicBezTo>
                  <a:cubicBezTo>
                    <a:pt x="1483" y="1148"/>
                    <a:pt x="1506" y="1160"/>
                    <a:pt x="1526" y="1179"/>
                  </a:cubicBezTo>
                  <a:cubicBezTo>
                    <a:pt x="1537" y="1191"/>
                    <a:pt x="1546" y="1204"/>
                    <a:pt x="1553" y="1218"/>
                  </a:cubicBezTo>
                  <a:cubicBezTo>
                    <a:pt x="1606" y="1194"/>
                    <a:pt x="1670" y="1203"/>
                    <a:pt x="1713" y="1247"/>
                  </a:cubicBezTo>
                  <a:cubicBezTo>
                    <a:pt x="1740" y="1274"/>
                    <a:pt x="1754" y="1309"/>
                    <a:pt x="1755" y="1345"/>
                  </a:cubicBezTo>
                  <a:cubicBezTo>
                    <a:pt x="1776" y="1348"/>
                    <a:pt x="1797" y="1357"/>
                    <a:pt x="1813" y="1373"/>
                  </a:cubicBezTo>
                  <a:cubicBezTo>
                    <a:pt x="1831" y="1391"/>
                    <a:pt x="1841" y="1414"/>
                    <a:pt x="1843" y="1437"/>
                  </a:cubicBezTo>
                  <a:cubicBezTo>
                    <a:pt x="1870" y="1436"/>
                    <a:pt x="1897" y="1446"/>
                    <a:pt x="1917" y="1466"/>
                  </a:cubicBezTo>
                  <a:cubicBezTo>
                    <a:pt x="1957" y="1507"/>
                    <a:pt x="1957" y="1572"/>
                    <a:pt x="1917" y="1612"/>
                  </a:cubicBezTo>
                  <a:cubicBezTo>
                    <a:pt x="1912" y="1617"/>
                    <a:pt x="1907" y="1621"/>
                    <a:pt x="1902" y="1624"/>
                  </a:cubicBezTo>
                  <a:cubicBezTo>
                    <a:pt x="1904" y="1627"/>
                    <a:pt x="1907" y="1629"/>
                    <a:pt x="1909" y="1631"/>
                  </a:cubicBezTo>
                  <a:cubicBezTo>
                    <a:pt x="1844" y="1714"/>
                    <a:pt x="1772" y="1789"/>
                    <a:pt x="1694" y="1857"/>
                  </a:cubicBezTo>
                  <a:cubicBezTo>
                    <a:pt x="1689" y="1884"/>
                    <a:pt x="1676" y="1910"/>
                    <a:pt x="1655" y="1931"/>
                  </a:cubicBezTo>
                  <a:cubicBezTo>
                    <a:pt x="1599" y="1987"/>
                    <a:pt x="1508" y="1987"/>
                    <a:pt x="1453" y="1931"/>
                  </a:cubicBezTo>
                  <a:cubicBezTo>
                    <a:pt x="1417" y="1895"/>
                    <a:pt x="1404" y="1846"/>
                    <a:pt x="1415" y="1800"/>
                  </a:cubicBezTo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0" name="Freeform 3239"/>
            <p:cNvSpPr/>
            <p:nvPr userDrawn="1"/>
          </p:nvSpPr>
          <p:spPr bwMode="auto">
            <a:xfrm>
              <a:off x="8609095" y="3259715"/>
              <a:ext cx="3201968" cy="3153853"/>
            </a:xfrm>
            <a:custGeom>
              <a:avLst/>
              <a:gdLst>
                <a:gd name="T0" fmla="*/ 1423 w 1571"/>
                <a:gd name="T1" fmla="*/ 1120 h 1550"/>
                <a:gd name="T2" fmla="*/ 1402 w 1571"/>
                <a:gd name="T3" fmla="*/ 1090 h 1550"/>
                <a:gd name="T4" fmla="*/ 1307 w 1571"/>
                <a:gd name="T5" fmla="*/ 1058 h 1550"/>
                <a:gd name="T6" fmla="*/ 1292 w 1571"/>
                <a:gd name="T7" fmla="*/ 918 h 1550"/>
                <a:gd name="T8" fmla="*/ 1185 w 1571"/>
                <a:gd name="T9" fmla="*/ 889 h 1550"/>
                <a:gd name="T10" fmla="*/ 1175 w 1571"/>
                <a:gd name="T11" fmla="*/ 876 h 1550"/>
                <a:gd name="T12" fmla="*/ 1095 w 1571"/>
                <a:gd name="T13" fmla="*/ 855 h 1550"/>
                <a:gd name="T14" fmla="*/ 1064 w 1571"/>
                <a:gd name="T15" fmla="*/ 757 h 1550"/>
                <a:gd name="T16" fmla="*/ 986 w 1571"/>
                <a:gd name="T17" fmla="*/ 724 h 1550"/>
                <a:gd name="T18" fmla="*/ 967 w 1571"/>
                <a:gd name="T19" fmla="*/ 694 h 1550"/>
                <a:gd name="T20" fmla="*/ 946 w 1571"/>
                <a:gd name="T21" fmla="*/ 679 h 1550"/>
                <a:gd name="T22" fmla="*/ 914 w 1571"/>
                <a:gd name="T23" fmla="*/ 610 h 1550"/>
                <a:gd name="T24" fmla="*/ 783 w 1571"/>
                <a:gd name="T25" fmla="*/ 590 h 1550"/>
                <a:gd name="T26" fmla="*/ 761 w 1571"/>
                <a:gd name="T27" fmla="*/ 549 h 1550"/>
                <a:gd name="T28" fmla="*/ 703 w 1571"/>
                <a:gd name="T29" fmla="*/ 526 h 1550"/>
                <a:gd name="T30" fmla="*/ 683 w 1571"/>
                <a:gd name="T31" fmla="*/ 444 h 1550"/>
                <a:gd name="T32" fmla="*/ 590 w 1571"/>
                <a:gd name="T33" fmla="*/ 429 h 1550"/>
                <a:gd name="T34" fmla="*/ 133 w 1571"/>
                <a:gd name="T35" fmla="*/ 0 h 1550"/>
                <a:gd name="T36" fmla="*/ 0 w 1571"/>
                <a:gd name="T37" fmla="*/ 134 h 1550"/>
                <a:gd name="T38" fmla="*/ 476 w 1571"/>
                <a:gd name="T39" fmla="*/ 643 h 1550"/>
                <a:gd name="T40" fmla="*/ 492 w 1571"/>
                <a:gd name="T41" fmla="*/ 735 h 1550"/>
                <a:gd name="T42" fmla="*/ 563 w 1571"/>
                <a:gd name="T43" fmla="*/ 758 h 1550"/>
                <a:gd name="T44" fmla="*/ 595 w 1571"/>
                <a:gd name="T45" fmla="*/ 830 h 1550"/>
                <a:gd name="T46" fmla="*/ 656 w 1571"/>
                <a:gd name="T47" fmla="*/ 861 h 1550"/>
                <a:gd name="T48" fmla="*/ 682 w 1571"/>
                <a:gd name="T49" fmla="*/ 979 h 1550"/>
                <a:gd name="T50" fmla="*/ 785 w 1571"/>
                <a:gd name="T51" fmla="*/ 1009 h 1550"/>
                <a:gd name="T52" fmla="*/ 813 w 1571"/>
                <a:gd name="T53" fmla="*/ 1123 h 1550"/>
                <a:gd name="T54" fmla="*/ 903 w 1571"/>
                <a:gd name="T55" fmla="*/ 1155 h 1550"/>
                <a:gd name="T56" fmla="*/ 932 w 1571"/>
                <a:gd name="T57" fmla="*/ 1208 h 1550"/>
                <a:gd name="T58" fmla="*/ 963 w 1571"/>
                <a:gd name="T59" fmla="*/ 1230 h 1550"/>
                <a:gd name="T60" fmla="*/ 986 w 1571"/>
                <a:gd name="T61" fmla="*/ 1356 h 1550"/>
                <a:gd name="T62" fmla="*/ 1063 w 1571"/>
                <a:gd name="T63" fmla="*/ 1389 h 1550"/>
                <a:gd name="T64" fmla="*/ 1086 w 1571"/>
                <a:gd name="T65" fmla="*/ 1436 h 1550"/>
                <a:gd name="T66" fmla="*/ 1136 w 1571"/>
                <a:gd name="T67" fmla="*/ 1459 h 1550"/>
                <a:gd name="T68" fmla="*/ 1159 w 1571"/>
                <a:gd name="T69" fmla="*/ 1518 h 1550"/>
                <a:gd name="T70" fmla="*/ 1274 w 1571"/>
                <a:gd name="T71" fmla="*/ 1518 h 1550"/>
                <a:gd name="T72" fmla="*/ 1284 w 1571"/>
                <a:gd name="T73" fmla="*/ 1506 h 1550"/>
                <a:gd name="T74" fmla="*/ 1289 w 1571"/>
                <a:gd name="T75" fmla="*/ 1512 h 1550"/>
                <a:gd name="T76" fmla="*/ 1468 w 1571"/>
                <a:gd name="T77" fmla="*/ 1341 h 1550"/>
                <a:gd name="T78" fmla="*/ 1527 w 1571"/>
                <a:gd name="T79" fmla="*/ 1310 h 1550"/>
                <a:gd name="T80" fmla="*/ 1527 w 1571"/>
                <a:gd name="T81" fmla="*/ 1150 h 1550"/>
                <a:gd name="T82" fmla="*/ 1423 w 1571"/>
                <a:gd name="T83" fmla="*/ 112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1" h="1550">
                  <a:moveTo>
                    <a:pt x="1423" y="1120"/>
                  </a:moveTo>
                  <a:cubicBezTo>
                    <a:pt x="1417" y="1109"/>
                    <a:pt x="1411" y="1099"/>
                    <a:pt x="1402" y="1090"/>
                  </a:cubicBezTo>
                  <a:cubicBezTo>
                    <a:pt x="1376" y="1064"/>
                    <a:pt x="1341" y="1054"/>
                    <a:pt x="1307" y="1058"/>
                  </a:cubicBezTo>
                  <a:cubicBezTo>
                    <a:pt x="1335" y="1015"/>
                    <a:pt x="1330" y="956"/>
                    <a:pt x="1292" y="918"/>
                  </a:cubicBezTo>
                  <a:cubicBezTo>
                    <a:pt x="1263" y="889"/>
                    <a:pt x="1222" y="880"/>
                    <a:pt x="1185" y="889"/>
                  </a:cubicBezTo>
                  <a:cubicBezTo>
                    <a:pt x="1182" y="884"/>
                    <a:pt x="1179" y="880"/>
                    <a:pt x="1175" y="876"/>
                  </a:cubicBezTo>
                  <a:cubicBezTo>
                    <a:pt x="1153" y="854"/>
                    <a:pt x="1122" y="848"/>
                    <a:pt x="1095" y="855"/>
                  </a:cubicBezTo>
                  <a:cubicBezTo>
                    <a:pt x="1101" y="821"/>
                    <a:pt x="1091" y="784"/>
                    <a:pt x="1064" y="757"/>
                  </a:cubicBezTo>
                  <a:cubicBezTo>
                    <a:pt x="1042" y="735"/>
                    <a:pt x="1014" y="724"/>
                    <a:pt x="986" y="724"/>
                  </a:cubicBezTo>
                  <a:cubicBezTo>
                    <a:pt x="982" y="713"/>
                    <a:pt x="976" y="702"/>
                    <a:pt x="967" y="694"/>
                  </a:cubicBezTo>
                  <a:cubicBezTo>
                    <a:pt x="961" y="687"/>
                    <a:pt x="953" y="683"/>
                    <a:pt x="946" y="679"/>
                  </a:cubicBezTo>
                  <a:cubicBezTo>
                    <a:pt x="943" y="654"/>
                    <a:pt x="933" y="630"/>
                    <a:pt x="914" y="610"/>
                  </a:cubicBezTo>
                  <a:cubicBezTo>
                    <a:pt x="878" y="575"/>
                    <a:pt x="825" y="569"/>
                    <a:pt x="783" y="590"/>
                  </a:cubicBezTo>
                  <a:cubicBezTo>
                    <a:pt x="780" y="575"/>
                    <a:pt x="773" y="561"/>
                    <a:pt x="761" y="549"/>
                  </a:cubicBezTo>
                  <a:cubicBezTo>
                    <a:pt x="745" y="533"/>
                    <a:pt x="724" y="525"/>
                    <a:pt x="703" y="526"/>
                  </a:cubicBezTo>
                  <a:cubicBezTo>
                    <a:pt x="711" y="498"/>
                    <a:pt x="705" y="466"/>
                    <a:pt x="683" y="444"/>
                  </a:cubicBezTo>
                  <a:cubicBezTo>
                    <a:pt x="658" y="419"/>
                    <a:pt x="620" y="414"/>
                    <a:pt x="590" y="429"/>
                  </a:cubicBezTo>
                  <a:cubicBezTo>
                    <a:pt x="438" y="286"/>
                    <a:pt x="285" y="143"/>
                    <a:pt x="133" y="0"/>
                  </a:cubicBezTo>
                  <a:cubicBezTo>
                    <a:pt x="94" y="50"/>
                    <a:pt x="49" y="95"/>
                    <a:pt x="0" y="134"/>
                  </a:cubicBezTo>
                  <a:cubicBezTo>
                    <a:pt x="159" y="303"/>
                    <a:pt x="317" y="473"/>
                    <a:pt x="476" y="643"/>
                  </a:cubicBezTo>
                  <a:cubicBezTo>
                    <a:pt x="462" y="673"/>
                    <a:pt x="467" y="710"/>
                    <a:pt x="492" y="735"/>
                  </a:cubicBezTo>
                  <a:cubicBezTo>
                    <a:pt x="511" y="755"/>
                    <a:pt x="538" y="762"/>
                    <a:pt x="563" y="758"/>
                  </a:cubicBezTo>
                  <a:cubicBezTo>
                    <a:pt x="565" y="784"/>
                    <a:pt x="575" y="810"/>
                    <a:pt x="595" y="830"/>
                  </a:cubicBezTo>
                  <a:cubicBezTo>
                    <a:pt x="613" y="847"/>
                    <a:pt x="634" y="858"/>
                    <a:pt x="656" y="861"/>
                  </a:cubicBezTo>
                  <a:cubicBezTo>
                    <a:pt x="642" y="901"/>
                    <a:pt x="650" y="947"/>
                    <a:pt x="682" y="979"/>
                  </a:cubicBezTo>
                  <a:cubicBezTo>
                    <a:pt x="710" y="1007"/>
                    <a:pt x="749" y="1017"/>
                    <a:pt x="785" y="1009"/>
                  </a:cubicBezTo>
                  <a:cubicBezTo>
                    <a:pt x="773" y="1048"/>
                    <a:pt x="782" y="1092"/>
                    <a:pt x="813" y="1123"/>
                  </a:cubicBezTo>
                  <a:cubicBezTo>
                    <a:pt x="838" y="1147"/>
                    <a:pt x="871" y="1158"/>
                    <a:pt x="903" y="1155"/>
                  </a:cubicBezTo>
                  <a:cubicBezTo>
                    <a:pt x="907" y="1174"/>
                    <a:pt x="917" y="1193"/>
                    <a:pt x="932" y="1208"/>
                  </a:cubicBezTo>
                  <a:cubicBezTo>
                    <a:pt x="941" y="1217"/>
                    <a:pt x="952" y="1224"/>
                    <a:pt x="963" y="1230"/>
                  </a:cubicBezTo>
                  <a:cubicBezTo>
                    <a:pt x="944" y="1271"/>
                    <a:pt x="951" y="1322"/>
                    <a:pt x="986" y="1356"/>
                  </a:cubicBezTo>
                  <a:cubicBezTo>
                    <a:pt x="1007" y="1378"/>
                    <a:pt x="1035" y="1389"/>
                    <a:pt x="1063" y="1389"/>
                  </a:cubicBezTo>
                  <a:cubicBezTo>
                    <a:pt x="1065" y="1406"/>
                    <a:pt x="1073" y="1423"/>
                    <a:pt x="1086" y="1436"/>
                  </a:cubicBezTo>
                  <a:cubicBezTo>
                    <a:pt x="1100" y="1450"/>
                    <a:pt x="1117" y="1457"/>
                    <a:pt x="1136" y="1459"/>
                  </a:cubicBezTo>
                  <a:cubicBezTo>
                    <a:pt x="1135" y="1480"/>
                    <a:pt x="1143" y="1502"/>
                    <a:pt x="1159" y="1518"/>
                  </a:cubicBezTo>
                  <a:cubicBezTo>
                    <a:pt x="1191" y="1550"/>
                    <a:pt x="1243" y="1550"/>
                    <a:pt x="1274" y="1518"/>
                  </a:cubicBezTo>
                  <a:cubicBezTo>
                    <a:pt x="1278" y="1514"/>
                    <a:pt x="1281" y="1510"/>
                    <a:pt x="1284" y="1506"/>
                  </a:cubicBezTo>
                  <a:cubicBezTo>
                    <a:pt x="1286" y="1508"/>
                    <a:pt x="1288" y="1510"/>
                    <a:pt x="1289" y="1512"/>
                  </a:cubicBezTo>
                  <a:cubicBezTo>
                    <a:pt x="1355" y="1460"/>
                    <a:pt x="1414" y="1403"/>
                    <a:pt x="1468" y="1341"/>
                  </a:cubicBezTo>
                  <a:cubicBezTo>
                    <a:pt x="1490" y="1337"/>
                    <a:pt x="1510" y="1327"/>
                    <a:pt x="1527" y="1310"/>
                  </a:cubicBezTo>
                  <a:cubicBezTo>
                    <a:pt x="1571" y="1266"/>
                    <a:pt x="1571" y="1194"/>
                    <a:pt x="1527" y="1150"/>
                  </a:cubicBezTo>
                  <a:cubicBezTo>
                    <a:pt x="1498" y="1122"/>
                    <a:pt x="1459" y="1112"/>
                    <a:pt x="1423" y="1120"/>
                  </a:cubicBezTo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1" name="Freeform 3240"/>
            <p:cNvSpPr/>
            <p:nvPr userDrawn="1"/>
          </p:nvSpPr>
          <p:spPr bwMode="auto">
            <a:xfrm>
              <a:off x="10131342" y="4418898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2" name="Freeform 3241"/>
            <p:cNvSpPr/>
            <p:nvPr userDrawn="1"/>
          </p:nvSpPr>
          <p:spPr bwMode="auto">
            <a:xfrm>
              <a:off x="10097806" y="4417439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4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4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Freeform 3242"/>
            <p:cNvSpPr/>
            <p:nvPr userDrawn="1"/>
          </p:nvSpPr>
          <p:spPr bwMode="auto">
            <a:xfrm>
              <a:off x="10392340" y="4902984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8" y="64"/>
                    <a:pt x="166" y="32"/>
                  </a:cubicBezTo>
                  <a:cubicBezTo>
                    <a:pt x="124" y="0"/>
                    <a:pt x="65" y="7"/>
                    <a:pt x="32" y="49"/>
                  </a:cubicBezTo>
                  <a:cubicBezTo>
                    <a:pt x="0" y="91"/>
                    <a:pt x="8" y="150"/>
                    <a:pt x="49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Freeform 3243"/>
            <p:cNvSpPr/>
            <p:nvPr userDrawn="1"/>
          </p:nvSpPr>
          <p:spPr bwMode="auto">
            <a:xfrm>
              <a:off x="10390883" y="4866532"/>
              <a:ext cx="437427" cy="437427"/>
            </a:xfrm>
            <a:custGeom>
              <a:avLst/>
              <a:gdLst>
                <a:gd name="T0" fmla="*/ 182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2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2" y="166"/>
                  </a:moveTo>
                  <a:cubicBezTo>
                    <a:pt x="215" y="125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7" y="151"/>
                    <a:pt x="49" y="183"/>
                  </a:cubicBezTo>
                  <a:cubicBezTo>
                    <a:pt x="90" y="215"/>
                    <a:pt x="150" y="208"/>
                    <a:pt x="182" y="16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Freeform 3244"/>
            <p:cNvSpPr/>
            <p:nvPr userDrawn="1"/>
          </p:nvSpPr>
          <p:spPr bwMode="auto">
            <a:xfrm>
              <a:off x="10500239" y="5643695"/>
              <a:ext cx="438885" cy="437427"/>
            </a:xfrm>
            <a:custGeom>
              <a:avLst/>
              <a:gdLst>
                <a:gd name="T0" fmla="*/ 183 w 215"/>
                <a:gd name="T1" fmla="*/ 166 h 215"/>
                <a:gd name="T2" fmla="*/ 166 w 215"/>
                <a:gd name="T3" fmla="*/ 32 h 215"/>
                <a:gd name="T4" fmla="*/ 32 w 215"/>
                <a:gd name="T5" fmla="*/ 49 h 215"/>
                <a:gd name="T6" fmla="*/ 49 w 215"/>
                <a:gd name="T7" fmla="*/ 183 h 215"/>
                <a:gd name="T8" fmla="*/ 183 w 215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183" y="166"/>
                  </a:moveTo>
                  <a:cubicBezTo>
                    <a:pt x="215" y="124"/>
                    <a:pt x="207" y="65"/>
                    <a:pt x="166" y="32"/>
                  </a:cubicBezTo>
                  <a:cubicBezTo>
                    <a:pt x="124" y="0"/>
                    <a:pt x="64" y="8"/>
                    <a:pt x="32" y="49"/>
                  </a:cubicBezTo>
                  <a:cubicBezTo>
                    <a:pt x="0" y="91"/>
                    <a:pt x="8" y="151"/>
                    <a:pt x="49" y="183"/>
                  </a:cubicBezTo>
                  <a:cubicBezTo>
                    <a:pt x="91" y="215"/>
                    <a:pt x="151" y="208"/>
                    <a:pt x="183" y="166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Freeform 3245"/>
            <p:cNvSpPr/>
            <p:nvPr userDrawn="1"/>
          </p:nvSpPr>
          <p:spPr bwMode="auto">
            <a:xfrm>
              <a:off x="10495865" y="5610158"/>
              <a:ext cx="440344" cy="437427"/>
            </a:xfrm>
            <a:custGeom>
              <a:avLst/>
              <a:gdLst>
                <a:gd name="T0" fmla="*/ 183 w 216"/>
                <a:gd name="T1" fmla="*/ 166 h 215"/>
                <a:gd name="T2" fmla="*/ 166 w 216"/>
                <a:gd name="T3" fmla="*/ 32 h 215"/>
                <a:gd name="T4" fmla="*/ 33 w 216"/>
                <a:gd name="T5" fmla="*/ 49 h 215"/>
                <a:gd name="T6" fmla="*/ 50 w 216"/>
                <a:gd name="T7" fmla="*/ 183 h 215"/>
                <a:gd name="T8" fmla="*/ 183 w 216"/>
                <a:gd name="T9" fmla="*/ 16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15">
                  <a:moveTo>
                    <a:pt x="183" y="166"/>
                  </a:moveTo>
                  <a:cubicBezTo>
                    <a:pt x="216" y="124"/>
                    <a:pt x="208" y="64"/>
                    <a:pt x="166" y="32"/>
                  </a:cubicBezTo>
                  <a:cubicBezTo>
                    <a:pt x="125" y="0"/>
                    <a:pt x="65" y="7"/>
                    <a:pt x="33" y="49"/>
                  </a:cubicBezTo>
                  <a:cubicBezTo>
                    <a:pt x="0" y="91"/>
                    <a:pt x="8" y="150"/>
                    <a:pt x="50" y="183"/>
                  </a:cubicBezTo>
                  <a:cubicBezTo>
                    <a:pt x="91" y="215"/>
                    <a:pt x="151" y="207"/>
                    <a:pt x="183" y="1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7" name="Freeform 3246"/>
            <p:cNvSpPr/>
            <p:nvPr userDrawn="1"/>
          </p:nvSpPr>
          <p:spPr bwMode="auto">
            <a:xfrm>
              <a:off x="10847265" y="5980514"/>
              <a:ext cx="425763" cy="427221"/>
            </a:xfrm>
            <a:custGeom>
              <a:avLst/>
              <a:gdLst>
                <a:gd name="T0" fmla="*/ 37 w 209"/>
                <a:gd name="T1" fmla="*/ 38 h 210"/>
                <a:gd name="T2" fmla="*/ 38 w 209"/>
                <a:gd name="T3" fmla="*/ 173 h 210"/>
                <a:gd name="T4" fmla="*/ 172 w 209"/>
                <a:gd name="T5" fmla="*/ 172 h 210"/>
                <a:gd name="T6" fmla="*/ 171 w 209"/>
                <a:gd name="T7" fmla="*/ 37 h 210"/>
                <a:gd name="T8" fmla="*/ 37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37" y="38"/>
                  </a:moveTo>
                  <a:cubicBezTo>
                    <a:pt x="0" y="76"/>
                    <a:pt x="0" y="136"/>
                    <a:pt x="38" y="173"/>
                  </a:cubicBezTo>
                  <a:cubicBezTo>
                    <a:pt x="75" y="210"/>
                    <a:pt x="135" y="210"/>
                    <a:pt x="172" y="172"/>
                  </a:cubicBezTo>
                  <a:cubicBezTo>
                    <a:pt x="209" y="135"/>
                    <a:pt x="209" y="74"/>
                    <a:pt x="171" y="37"/>
                  </a:cubicBezTo>
                  <a:cubicBezTo>
                    <a:pt x="134" y="0"/>
                    <a:pt x="74" y="1"/>
                    <a:pt x="37" y="38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8" name="Freeform 3247"/>
            <p:cNvSpPr/>
            <p:nvPr userDrawn="1"/>
          </p:nvSpPr>
          <p:spPr bwMode="auto">
            <a:xfrm>
              <a:off x="10844348" y="6016966"/>
              <a:ext cx="428679" cy="424305"/>
            </a:xfrm>
            <a:custGeom>
              <a:avLst/>
              <a:gdLst>
                <a:gd name="T0" fmla="*/ 37 w 210"/>
                <a:gd name="T1" fmla="*/ 38 h 209"/>
                <a:gd name="T2" fmla="*/ 38 w 210"/>
                <a:gd name="T3" fmla="*/ 172 h 209"/>
                <a:gd name="T4" fmla="*/ 173 w 210"/>
                <a:gd name="T5" fmla="*/ 172 h 209"/>
                <a:gd name="T6" fmla="*/ 172 w 210"/>
                <a:gd name="T7" fmla="*/ 37 h 209"/>
                <a:gd name="T8" fmla="*/ 37 w 210"/>
                <a:gd name="T9" fmla="*/ 3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209">
                  <a:moveTo>
                    <a:pt x="37" y="38"/>
                  </a:moveTo>
                  <a:cubicBezTo>
                    <a:pt x="0" y="75"/>
                    <a:pt x="1" y="135"/>
                    <a:pt x="38" y="172"/>
                  </a:cubicBezTo>
                  <a:cubicBezTo>
                    <a:pt x="75" y="209"/>
                    <a:pt x="136" y="209"/>
                    <a:pt x="173" y="172"/>
                  </a:cubicBezTo>
                  <a:cubicBezTo>
                    <a:pt x="210" y="134"/>
                    <a:pt x="209" y="74"/>
                    <a:pt x="172" y="37"/>
                  </a:cubicBezTo>
                  <a:cubicBezTo>
                    <a:pt x="134" y="0"/>
                    <a:pt x="74" y="0"/>
                    <a:pt x="37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9" name="Freeform 3248"/>
            <p:cNvSpPr/>
            <p:nvPr userDrawn="1"/>
          </p:nvSpPr>
          <p:spPr bwMode="auto">
            <a:xfrm>
              <a:off x="11073269" y="6081122"/>
              <a:ext cx="425763" cy="425763"/>
            </a:xfrm>
            <a:custGeom>
              <a:avLst/>
              <a:gdLst>
                <a:gd name="T0" fmla="*/ 172 w 209"/>
                <a:gd name="T1" fmla="*/ 37 h 209"/>
                <a:gd name="T2" fmla="*/ 37 w 209"/>
                <a:gd name="T3" fmla="*/ 37 h 209"/>
                <a:gd name="T4" fmla="*/ 37 w 209"/>
                <a:gd name="T5" fmla="*/ 172 h 209"/>
                <a:gd name="T6" fmla="*/ 172 w 209"/>
                <a:gd name="T7" fmla="*/ 172 h 209"/>
                <a:gd name="T8" fmla="*/ 172 w 209"/>
                <a:gd name="T9" fmla="*/ 3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09">
                  <a:moveTo>
                    <a:pt x="172" y="37"/>
                  </a:moveTo>
                  <a:cubicBezTo>
                    <a:pt x="135" y="0"/>
                    <a:pt x="75" y="0"/>
                    <a:pt x="37" y="37"/>
                  </a:cubicBezTo>
                  <a:cubicBezTo>
                    <a:pt x="0" y="74"/>
                    <a:pt x="0" y="135"/>
                    <a:pt x="37" y="172"/>
                  </a:cubicBezTo>
                  <a:cubicBezTo>
                    <a:pt x="75" y="209"/>
                    <a:pt x="135" y="209"/>
                    <a:pt x="172" y="172"/>
                  </a:cubicBezTo>
                  <a:cubicBezTo>
                    <a:pt x="209" y="135"/>
                    <a:pt x="209" y="74"/>
                    <a:pt x="172" y="37"/>
                  </a:cubicBezTo>
                  <a:close/>
                </a:path>
              </a:pathLst>
            </a:custGeom>
            <a:solidFill>
              <a:srgbClr val="0093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0" name="Freeform 3249"/>
            <p:cNvSpPr/>
            <p:nvPr userDrawn="1"/>
          </p:nvSpPr>
          <p:spPr bwMode="auto">
            <a:xfrm>
              <a:off x="11038275" y="6079664"/>
              <a:ext cx="425763" cy="427221"/>
            </a:xfrm>
            <a:custGeom>
              <a:avLst/>
              <a:gdLst>
                <a:gd name="T0" fmla="*/ 172 w 209"/>
                <a:gd name="T1" fmla="*/ 38 h 210"/>
                <a:gd name="T2" fmla="*/ 37 w 209"/>
                <a:gd name="T3" fmla="*/ 38 h 210"/>
                <a:gd name="T4" fmla="*/ 37 w 209"/>
                <a:gd name="T5" fmla="*/ 172 h 210"/>
                <a:gd name="T6" fmla="*/ 172 w 209"/>
                <a:gd name="T7" fmla="*/ 172 h 210"/>
                <a:gd name="T8" fmla="*/ 172 w 209"/>
                <a:gd name="T9" fmla="*/ 3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10">
                  <a:moveTo>
                    <a:pt x="172" y="38"/>
                  </a:moveTo>
                  <a:cubicBezTo>
                    <a:pt x="134" y="0"/>
                    <a:pt x="74" y="0"/>
                    <a:pt x="37" y="38"/>
                  </a:cubicBezTo>
                  <a:cubicBezTo>
                    <a:pt x="0" y="75"/>
                    <a:pt x="0" y="135"/>
                    <a:pt x="37" y="172"/>
                  </a:cubicBezTo>
                  <a:cubicBezTo>
                    <a:pt x="74" y="210"/>
                    <a:pt x="134" y="210"/>
                    <a:pt x="172" y="172"/>
                  </a:cubicBezTo>
                  <a:cubicBezTo>
                    <a:pt x="209" y="135"/>
                    <a:pt x="209" y="75"/>
                    <a:pt x="172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1" name="Freeform 3250"/>
            <p:cNvSpPr/>
            <p:nvPr userDrawn="1"/>
          </p:nvSpPr>
          <p:spPr bwMode="auto">
            <a:xfrm>
              <a:off x="10889550" y="5007967"/>
              <a:ext cx="444717" cy="443260"/>
            </a:xfrm>
            <a:custGeom>
              <a:avLst/>
              <a:gdLst>
                <a:gd name="T0" fmla="*/ 26 w 218"/>
                <a:gd name="T1" fmla="*/ 62 h 218"/>
                <a:gd name="T2" fmla="*/ 61 w 218"/>
                <a:gd name="T3" fmla="*/ 192 h 218"/>
                <a:gd name="T4" fmla="*/ 191 w 218"/>
                <a:gd name="T5" fmla="*/ 157 h 218"/>
                <a:gd name="T6" fmla="*/ 156 w 218"/>
                <a:gd name="T7" fmla="*/ 27 h 218"/>
                <a:gd name="T8" fmla="*/ 26 w 218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8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2" name="Freeform 3251"/>
            <p:cNvSpPr/>
            <p:nvPr userDrawn="1"/>
          </p:nvSpPr>
          <p:spPr bwMode="auto">
            <a:xfrm>
              <a:off x="10898298" y="5041503"/>
              <a:ext cx="441801" cy="443260"/>
            </a:xfrm>
            <a:custGeom>
              <a:avLst/>
              <a:gdLst>
                <a:gd name="T0" fmla="*/ 26 w 217"/>
                <a:gd name="T1" fmla="*/ 62 h 218"/>
                <a:gd name="T2" fmla="*/ 61 w 217"/>
                <a:gd name="T3" fmla="*/ 192 h 218"/>
                <a:gd name="T4" fmla="*/ 191 w 217"/>
                <a:gd name="T5" fmla="*/ 157 h 218"/>
                <a:gd name="T6" fmla="*/ 156 w 217"/>
                <a:gd name="T7" fmla="*/ 27 h 218"/>
                <a:gd name="T8" fmla="*/ 26 w 217"/>
                <a:gd name="T9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8">
                  <a:moveTo>
                    <a:pt x="26" y="62"/>
                  </a:moveTo>
                  <a:cubicBezTo>
                    <a:pt x="0" y="108"/>
                    <a:pt x="16" y="166"/>
                    <a:pt x="61" y="192"/>
                  </a:cubicBezTo>
                  <a:cubicBezTo>
                    <a:pt x="107" y="218"/>
                    <a:pt x="165" y="202"/>
                    <a:pt x="191" y="157"/>
                  </a:cubicBezTo>
                  <a:cubicBezTo>
                    <a:pt x="217" y="111"/>
                    <a:pt x="202" y="53"/>
                    <a:pt x="156" y="27"/>
                  </a:cubicBezTo>
                  <a:cubicBezTo>
                    <a:pt x="110" y="0"/>
                    <a:pt x="52" y="16"/>
                    <a:pt x="26" y="62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Freeform 3252"/>
            <p:cNvSpPr/>
            <p:nvPr userDrawn="1"/>
          </p:nvSpPr>
          <p:spPr bwMode="auto">
            <a:xfrm>
              <a:off x="9879092" y="491610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59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Freeform 3253"/>
            <p:cNvSpPr/>
            <p:nvPr userDrawn="1"/>
          </p:nvSpPr>
          <p:spPr bwMode="auto">
            <a:xfrm>
              <a:off x="9914086" y="4910274"/>
              <a:ext cx="441801" cy="440344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5" name="Freeform 3254"/>
            <p:cNvSpPr/>
            <p:nvPr userDrawn="1"/>
          </p:nvSpPr>
          <p:spPr bwMode="auto">
            <a:xfrm>
              <a:off x="10406921" y="5457059"/>
              <a:ext cx="319322" cy="319323"/>
            </a:xfrm>
            <a:custGeom>
              <a:avLst/>
              <a:gdLst>
                <a:gd name="T0" fmla="*/ 40 w 157"/>
                <a:gd name="T1" fmla="*/ 136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40 h 157"/>
                <a:gd name="T8" fmla="*/ 40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6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40"/>
                  </a:cubicBezTo>
                  <a:cubicBezTo>
                    <a:pt x="0" y="71"/>
                    <a:pt x="8" y="114"/>
                    <a:pt x="40" y="136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Freeform 3255"/>
            <p:cNvSpPr/>
            <p:nvPr userDrawn="1"/>
          </p:nvSpPr>
          <p:spPr bwMode="auto">
            <a:xfrm>
              <a:off x="10433167" y="5452684"/>
              <a:ext cx="319322" cy="322239"/>
            </a:xfrm>
            <a:custGeom>
              <a:avLst/>
              <a:gdLst>
                <a:gd name="T0" fmla="*/ 39 w 157"/>
                <a:gd name="T1" fmla="*/ 136 h 158"/>
                <a:gd name="T2" fmla="*/ 135 w 157"/>
                <a:gd name="T3" fmla="*/ 118 h 158"/>
                <a:gd name="T4" fmla="*/ 117 w 157"/>
                <a:gd name="T5" fmla="*/ 22 h 158"/>
                <a:gd name="T6" fmla="*/ 21 w 157"/>
                <a:gd name="T7" fmla="*/ 40 h 158"/>
                <a:gd name="T8" fmla="*/ 39 w 157"/>
                <a:gd name="T9" fmla="*/ 13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39" y="136"/>
                  </a:moveTo>
                  <a:cubicBezTo>
                    <a:pt x="71" y="158"/>
                    <a:pt x="113" y="150"/>
                    <a:pt x="135" y="118"/>
                  </a:cubicBezTo>
                  <a:cubicBezTo>
                    <a:pt x="157" y="87"/>
                    <a:pt x="149" y="44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Freeform 3256"/>
            <p:cNvSpPr/>
            <p:nvPr userDrawn="1"/>
          </p:nvSpPr>
          <p:spPr bwMode="auto">
            <a:xfrm>
              <a:off x="9518944" y="4506383"/>
              <a:ext cx="319322" cy="319323"/>
            </a:xfrm>
            <a:custGeom>
              <a:avLst/>
              <a:gdLst>
                <a:gd name="T0" fmla="*/ 40 w 157"/>
                <a:gd name="T1" fmla="*/ 135 h 157"/>
                <a:gd name="T2" fmla="*/ 136 w 157"/>
                <a:gd name="T3" fmla="*/ 118 h 157"/>
                <a:gd name="T4" fmla="*/ 118 w 157"/>
                <a:gd name="T5" fmla="*/ 22 h 157"/>
                <a:gd name="T6" fmla="*/ 22 w 157"/>
                <a:gd name="T7" fmla="*/ 39 h 157"/>
                <a:gd name="T8" fmla="*/ 40 w 157"/>
                <a:gd name="T9" fmla="*/ 13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40" y="135"/>
                  </a:moveTo>
                  <a:cubicBezTo>
                    <a:pt x="71" y="157"/>
                    <a:pt x="114" y="149"/>
                    <a:pt x="136" y="118"/>
                  </a:cubicBezTo>
                  <a:cubicBezTo>
                    <a:pt x="157" y="86"/>
                    <a:pt x="149" y="43"/>
                    <a:pt x="118" y="22"/>
                  </a:cubicBezTo>
                  <a:cubicBezTo>
                    <a:pt x="86" y="0"/>
                    <a:pt x="43" y="8"/>
                    <a:pt x="22" y="39"/>
                  </a:cubicBezTo>
                  <a:cubicBezTo>
                    <a:pt x="0" y="71"/>
                    <a:pt x="8" y="114"/>
                    <a:pt x="40" y="135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Freeform 3257"/>
            <p:cNvSpPr/>
            <p:nvPr userDrawn="1"/>
          </p:nvSpPr>
          <p:spPr bwMode="auto">
            <a:xfrm>
              <a:off x="9545190" y="4503467"/>
              <a:ext cx="319322" cy="319323"/>
            </a:xfrm>
            <a:custGeom>
              <a:avLst/>
              <a:gdLst>
                <a:gd name="T0" fmla="*/ 39 w 157"/>
                <a:gd name="T1" fmla="*/ 136 h 157"/>
                <a:gd name="T2" fmla="*/ 135 w 157"/>
                <a:gd name="T3" fmla="*/ 118 h 157"/>
                <a:gd name="T4" fmla="*/ 117 w 157"/>
                <a:gd name="T5" fmla="*/ 22 h 157"/>
                <a:gd name="T6" fmla="*/ 21 w 157"/>
                <a:gd name="T7" fmla="*/ 40 h 157"/>
                <a:gd name="T8" fmla="*/ 39 w 157"/>
                <a:gd name="T9" fmla="*/ 13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39" y="136"/>
                  </a:moveTo>
                  <a:cubicBezTo>
                    <a:pt x="71" y="157"/>
                    <a:pt x="113" y="149"/>
                    <a:pt x="135" y="118"/>
                  </a:cubicBezTo>
                  <a:cubicBezTo>
                    <a:pt x="157" y="86"/>
                    <a:pt x="149" y="43"/>
                    <a:pt x="117" y="22"/>
                  </a:cubicBezTo>
                  <a:cubicBezTo>
                    <a:pt x="86" y="0"/>
                    <a:pt x="43" y="8"/>
                    <a:pt x="21" y="40"/>
                  </a:cubicBezTo>
                  <a:cubicBezTo>
                    <a:pt x="0" y="71"/>
                    <a:pt x="8" y="114"/>
                    <a:pt x="39" y="13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任意多边形: 形状 148"/>
            <p:cNvSpPr/>
            <p:nvPr userDrawn="1"/>
          </p:nvSpPr>
          <p:spPr bwMode="auto">
            <a:xfrm>
              <a:off x="10518301" y="5970052"/>
              <a:ext cx="1115767" cy="880961"/>
            </a:xfrm>
            <a:custGeom>
              <a:avLst/>
              <a:gdLst>
                <a:gd name="connsiteX0" fmla="*/ 607399 w 1214794"/>
                <a:gd name="connsiteY0" fmla="*/ 0 h 959148"/>
                <a:gd name="connsiteX1" fmla="*/ 1036737 w 1214794"/>
                <a:gd name="connsiteY1" fmla="*/ 177764 h 959148"/>
                <a:gd name="connsiteX2" fmla="*/ 1114637 w 1214794"/>
                <a:gd name="connsiteY2" fmla="*/ 941334 h 959148"/>
                <a:gd name="connsiteX3" fmla="*/ 1100165 w 1214794"/>
                <a:gd name="connsiteY3" fmla="*/ 959148 h 959148"/>
                <a:gd name="connsiteX4" fmla="*/ 114629 w 1214794"/>
                <a:gd name="connsiteY4" fmla="*/ 959148 h 959148"/>
                <a:gd name="connsiteX5" fmla="*/ 100159 w 1214794"/>
                <a:gd name="connsiteY5" fmla="*/ 941334 h 959148"/>
                <a:gd name="connsiteX6" fmla="*/ 178059 w 1214794"/>
                <a:gd name="connsiteY6" fmla="*/ 177764 h 959148"/>
                <a:gd name="connsiteX7" fmla="*/ 607399 w 1214794"/>
                <a:gd name="connsiteY7" fmla="*/ 0 h 95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4794" h="959148">
                  <a:moveTo>
                    <a:pt x="607399" y="0"/>
                  </a:moveTo>
                  <a:cubicBezTo>
                    <a:pt x="762715" y="0"/>
                    <a:pt x="918031" y="59255"/>
                    <a:pt x="1036737" y="177764"/>
                  </a:cubicBezTo>
                  <a:cubicBezTo>
                    <a:pt x="1244471" y="385154"/>
                    <a:pt x="1270437" y="704477"/>
                    <a:pt x="1114637" y="941334"/>
                  </a:cubicBezTo>
                  <a:lnTo>
                    <a:pt x="1100165" y="959148"/>
                  </a:lnTo>
                  <a:lnTo>
                    <a:pt x="114629" y="959148"/>
                  </a:lnTo>
                  <a:lnTo>
                    <a:pt x="100159" y="941334"/>
                  </a:lnTo>
                  <a:cubicBezTo>
                    <a:pt x="-55643" y="704477"/>
                    <a:pt x="-29677" y="385154"/>
                    <a:pt x="178059" y="177764"/>
                  </a:cubicBezTo>
                  <a:cubicBezTo>
                    <a:pt x="296765" y="59255"/>
                    <a:pt x="452081" y="0"/>
                    <a:pt x="607399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0" name="任意多边形: 形状 149"/>
            <p:cNvSpPr/>
            <p:nvPr userDrawn="1"/>
          </p:nvSpPr>
          <p:spPr bwMode="auto">
            <a:xfrm>
              <a:off x="11393290" y="5382356"/>
              <a:ext cx="804004" cy="1186110"/>
            </a:xfrm>
            <a:custGeom>
              <a:avLst/>
              <a:gdLst>
                <a:gd name="connsiteX0" fmla="*/ 645037 w 875361"/>
                <a:gd name="connsiteY0" fmla="*/ 0 h 1291379"/>
                <a:gd name="connsiteX1" fmla="*/ 768391 w 875361"/>
                <a:gd name="connsiteY1" fmla="*/ 11837 h 1291379"/>
                <a:gd name="connsiteX2" fmla="*/ 875361 w 875361"/>
                <a:gd name="connsiteY2" fmla="*/ 43567 h 1291379"/>
                <a:gd name="connsiteX3" fmla="*/ 875361 w 875361"/>
                <a:gd name="connsiteY3" fmla="*/ 1247813 h 1291379"/>
                <a:gd name="connsiteX4" fmla="*/ 768391 w 875361"/>
                <a:gd name="connsiteY4" fmla="*/ 1279543 h 1291379"/>
                <a:gd name="connsiteX5" fmla="*/ 188021 w 875361"/>
                <a:gd name="connsiteY5" fmla="*/ 1101992 h 1291379"/>
                <a:gd name="connsiteX6" fmla="*/ 188021 w 875361"/>
                <a:gd name="connsiteY6" fmla="*/ 189388 h 1291379"/>
                <a:gd name="connsiteX7" fmla="*/ 645037 w 875361"/>
                <a:gd name="connsiteY7" fmla="*/ 0 h 129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5361" h="1291379">
                  <a:moveTo>
                    <a:pt x="645037" y="0"/>
                  </a:moveTo>
                  <a:cubicBezTo>
                    <a:pt x="686357" y="0"/>
                    <a:pt x="727677" y="3946"/>
                    <a:pt x="768391" y="11837"/>
                  </a:cubicBezTo>
                  <a:lnTo>
                    <a:pt x="875361" y="43567"/>
                  </a:lnTo>
                  <a:lnTo>
                    <a:pt x="875361" y="1247813"/>
                  </a:lnTo>
                  <a:lnTo>
                    <a:pt x="768391" y="1279543"/>
                  </a:lnTo>
                  <a:cubicBezTo>
                    <a:pt x="564823" y="1318999"/>
                    <a:pt x="346091" y="1259815"/>
                    <a:pt x="188021" y="1101992"/>
                  </a:cubicBezTo>
                  <a:cubicBezTo>
                    <a:pt x="-62673" y="849476"/>
                    <a:pt x="-62673" y="439690"/>
                    <a:pt x="188021" y="189388"/>
                  </a:cubicBezTo>
                  <a:cubicBezTo>
                    <a:pt x="314477" y="63129"/>
                    <a:pt x="479757" y="0"/>
                    <a:pt x="645037" y="0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1" name="Freeform 3261"/>
            <p:cNvSpPr/>
            <p:nvPr userDrawn="1"/>
          </p:nvSpPr>
          <p:spPr bwMode="auto">
            <a:xfrm>
              <a:off x="10444831" y="5462892"/>
              <a:ext cx="876312" cy="873397"/>
            </a:xfrm>
            <a:custGeom>
              <a:avLst/>
              <a:gdLst>
                <a:gd name="T0" fmla="*/ 353 w 430"/>
                <a:gd name="T1" fmla="*/ 76 h 429"/>
                <a:gd name="T2" fmla="*/ 77 w 430"/>
                <a:gd name="T3" fmla="*/ 76 h 429"/>
                <a:gd name="T4" fmla="*/ 77 w 430"/>
                <a:gd name="T5" fmla="*/ 353 h 429"/>
                <a:gd name="T6" fmla="*/ 353 w 430"/>
                <a:gd name="T7" fmla="*/ 353 h 429"/>
                <a:gd name="T8" fmla="*/ 353 w 430"/>
                <a:gd name="T9" fmla="*/ 7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429">
                  <a:moveTo>
                    <a:pt x="353" y="76"/>
                  </a:moveTo>
                  <a:cubicBezTo>
                    <a:pt x="277" y="0"/>
                    <a:pt x="153" y="0"/>
                    <a:pt x="77" y="76"/>
                  </a:cubicBezTo>
                  <a:cubicBezTo>
                    <a:pt x="0" y="152"/>
                    <a:pt x="0" y="276"/>
                    <a:pt x="77" y="353"/>
                  </a:cubicBezTo>
                  <a:cubicBezTo>
                    <a:pt x="153" y="429"/>
                    <a:pt x="277" y="429"/>
                    <a:pt x="353" y="353"/>
                  </a:cubicBezTo>
                  <a:cubicBezTo>
                    <a:pt x="430" y="276"/>
                    <a:pt x="430" y="152"/>
                    <a:pt x="353" y="7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Freeform 3262"/>
            <p:cNvSpPr/>
            <p:nvPr userDrawn="1"/>
          </p:nvSpPr>
          <p:spPr bwMode="auto">
            <a:xfrm>
              <a:off x="11074727" y="5725348"/>
              <a:ext cx="1038161" cy="1035245"/>
            </a:xfrm>
            <a:custGeom>
              <a:avLst/>
              <a:gdLst>
                <a:gd name="T0" fmla="*/ 425 w 509"/>
                <a:gd name="T1" fmla="*/ 101 h 509"/>
                <a:gd name="T2" fmla="*/ 101 w 509"/>
                <a:gd name="T3" fmla="*/ 85 h 509"/>
                <a:gd name="T4" fmla="*/ 85 w 509"/>
                <a:gd name="T5" fmla="*/ 408 h 509"/>
                <a:gd name="T6" fmla="*/ 408 w 509"/>
                <a:gd name="T7" fmla="*/ 425 h 509"/>
                <a:gd name="T8" fmla="*/ 425 w 509"/>
                <a:gd name="T9" fmla="*/ 10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" h="509">
                  <a:moveTo>
                    <a:pt x="425" y="101"/>
                  </a:moveTo>
                  <a:cubicBezTo>
                    <a:pt x="340" y="7"/>
                    <a:pt x="195" y="0"/>
                    <a:pt x="101" y="85"/>
                  </a:cubicBezTo>
                  <a:cubicBezTo>
                    <a:pt x="8" y="170"/>
                    <a:pt x="0" y="314"/>
                    <a:pt x="85" y="408"/>
                  </a:cubicBezTo>
                  <a:cubicBezTo>
                    <a:pt x="170" y="502"/>
                    <a:pt x="314" y="509"/>
                    <a:pt x="408" y="425"/>
                  </a:cubicBezTo>
                  <a:cubicBezTo>
                    <a:pt x="502" y="340"/>
                    <a:pt x="509" y="195"/>
                    <a:pt x="425" y="101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Freeform 3263"/>
            <p:cNvSpPr/>
            <p:nvPr userDrawn="1"/>
          </p:nvSpPr>
          <p:spPr bwMode="auto">
            <a:xfrm>
              <a:off x="9833892" y="5754510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2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2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Freeform 3264"/>
            <p:cNvSpPr/>
            <p:nvPr userDrawn="1"/>
          </p:nvSpPr>
          <p:spPr bwMode="auto">
            <a:xfrm>
              <a:off x="9905338" y="5735554"/>
              <a:ext cx="918597" cy="917140"/>
            </a:xfrm>
            <a:custGeom>
              <a:avLst/>
              <a:gdLst>
                <a:gd name="T0" fmla="*/ 132 w 451"/>
                <a:gd name="T1" fmla="*/ 399 h 451"/>
                <a:gd name="T2" fmla="*/ 399 w 451"/>
                <a:gd name="T3" fmla="*/ 319 h 451"/>
                <a:gd name="T4" fmla="*/ 319 w 451"/>
                <a:gd name="T5" fmla="*/ 51 h 451"/>
                <a:gd name="T6" fmla="*/ 52 w 451"/>
                <a:gd name="T7" fmla="*/ 132 h 451"/>
                <a:gd name="T8" fmla="*/ 132 w 451"/>
                <a:gd name="T9" fmla="*/ 39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451">
                  <a:moveTo>
                    <a:pt x="132" y="399"/>
                  </a:moveTo>
                  <a:cubicBezTo>
                    <a:pt x="228" y="451"/>
                    <a:pt x="347" y="415"/>
                    <a:pt x="399" y="319"/>
                  </a:cubicBezTo>
                  <a:cubicBezTo>
                    <a:pt x="451" y="223"/>
                    <a:pt x="415" y="103"/>
                    <a:pt x="319" y="51"/>
                  </a:cubicBezTo>
                  <a:cubicBezTo>
                    <a:pt x="223" y="0"/>
                    <a:pt x="103" y="36"/>
                    <a:pt x="52" y="132"/>
                  </a:cubicBezTo>
                  <a:cubicBezTo>
                    <a:pt x="0" y="228"/>
                    <a:pt x="36" y="347"/>
                    <a:pt x="132" y="39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" name="Freeform 3265"/>
            <p:cNvSpPr/>
            <p:nvPr userDrawn="1"/>
          </p:nvSpPr>
          <p:spPr bwMode="auto">
            <a:xfrm>
              <a:off x="10408380" y="5678689"/>
              <a:ext cx="443260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2 h 217"/>
                <a:gd name="T4" fmla="*/ 162 w 217"/>
                <a:gd name="T5" fmla="*/ 30 h 217"/>
                <a:gd name="T6" fmla="*/ 30 w 217"/>
                <a:gd name="T7" fmla="*/ 54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7" y="206"/>
                    <a:pt x="187" y="162"/>
                  </a:cubicBezTo>
                  <a:cubicBezTo>
                    <a:pt x="217" y="119"/>
                    <a:pt x="206" y="60"/>
                    <a:pt x="162" y="30"/>
                  </a:cubicBezTo>
                  <a:cubicBezTo>
                    <a:pt x="119" y="0"/>
                    <a:pt x="60" y="11"/>
                    <a:pt x="30" y="54"/>
                  </a:cubicBezTo>
                  <a:cubicBezTo>
                    <a:pt x="0" y="98"/>
                    <a:pt x="11" y="157"/>
                    <a:pt x="55" y="1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" name="Freeform 3266"/>
            <p:cNvSpPr/>
            <p:nvPr userDrawn="1"/>
          </p:nvSpPr>
          <p:spPr bwMode="auto">
            <a:xfrm>
              <a:off x="10443374" y="5672857"/>
              <a:ext cx="441801" cy="441802"/>
            </a:xfrm>
            <a:custGeom>
              <a:avLst/>
              <a:gdLst>
                <a:gd name="T0" fmla="*/ 55 w 217"/>
                <a:gd name="T1" fmla="*/ 187 h 217"/>
                <a:gd name="T2" fmla="*/ 187 w 217"/>
                <a:gd name="T3" fmla="*/ 163 h 217"/>
                <a:gd name="T4" fmla="*/ 163 w 217"/>
                <a:gd name="T5" fmla="*/ 30 h 217"/>
                <a:gd name="T6" fmla="*/ 30 w 217"/>
                <a:gd name="T7" fmla="*/ 55 h 217"/>
                <a:gd name="T8" fmla="*/ 55 w 217"/>
                <a:gd name="T9" fmla="*/ 1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55" y="187"/>
                  </a:moveTo>
                  <a:cubicBezTo>
                    <a:pt x="98" y="217"/>
                    <a:pt x="158" y="206"/>
                    <a:pt x="187" y="163"/>
                  </a:cubicBezTo>
                  <a:cubicBezTo>
                    <a:pt x="217" y="119"/>
                    <a:pt x="206" y="60"/>
                    <a:pt x="163" y="30"/>
                  </a:cubicBezTo>
                  <a:cubicBezTo>
                    <a:pt x="119" y="0"/>
                    <a:pt x="60" y="11"/>
                    <a:pt x="30" y="55"/>
                  </a:cubicBezTo>
                  <a:cubicBezTo>
                    <a:pt x="0" y="98"/>
                    <a:pt x="11" y="158"/>
                    <a:pt x="55" y="1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Freeform 3267"/>
            <p:cNvSpPr/>
            <p:nvPr userDrawn="1"/>
          </p:nvSpPr>
          <p:spPr bwMode="auto">
            <a:xfrm>
              <a:off x="11277402" y="5458517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8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2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8" name="Freeform 3268"/>
            <p:cNvSpPr/>
            <p:nvPr userDrawn="1"/>
          </p:nvSpPr>
          <p:spPr bwMode="auto">
            <a:xfrm>
              <a:off x="11319686" y="5448311"/>
              <a:ext cx="548242" cy="548242"/>
            </a:xfrm>
            <a:custGeom>
              <a:avLst/>
              <a:gdLst>
                <a:gd name="T0" fmla="*/ 79 w 269"/>
                <a:gd name="T1" fmla="*/ 238 h 269"/>
                <a:gd name="T2" fmla="*/ 238 w 269"/>
                <a:gd name="T3" fmla="*/ 190 h 269"/>
                <a:gd name="T4" fmla="*/ 190 w 269"/>
                <a:gd name="T5" fmla="*/ 31 h 269"/>
                <a:gd name="T6" fmla="*/ 31 w 269"/>
                <a:gd name="T7" fmla="*/ 79 h 269"/>
                <a:gd name="T8" fmla="*/ 79 w 269"/>
                <a:gd name="T9" fmla="*/ 2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69">
                  <a:moveTo>
                    <a:pt x="79" y="238"/>
                  </a:moveTo>
                  <a:cubicBezTo>
                    <a:pt x="136" y="269"/>
                    <a:pt x="207" y="247"/>
                    <a:pt x="238" y="190"/>
                  </a:cubicBezTo>
                  <a:cubicBezTo>
                    <a:pt x="269" y="133"/>
                    <a:pt x="247" y="62"/>
                    <a:pt x="190" y="31"/>
                  </a:cubicBezTo>
                  <a:cubicBezTo>
                    <a:pt x="133" y="0"/>
                    <a:pt x="62" y="21"/>
                    <a:pt x="31" y="79"/>
                  </a:cubicBezTo>
                  <a:cubicBezTo>
                    <a:pt x="0" y="136"/>
                    <a:pt x="22" y="207"/>
                    <a:pt x="79" y="238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9" name="Freeform 3269"/>
            <p:cNvSpPr/>
            <p:nvPr userDrawn="1"/>
          </p:nvSpPr>
          <p:spPr bwMode="auto">
            <a:xfrm>
              <a:off x="10543982" y="5680147"/>
              <a:ext cx="734878" cy="734878"/>
            </a:xfrm>
            <a:custGeom>
              <a:avLst/>
              <a:gdLst>
                <a:gd name="T0" fmla="*/ 51 w 361"/>
                <a:gd name="T1" fmla="*/ 87 h 361"/>
                <a:gd name="T2" fmla="*/ 87 w 361"/>
                <a:gd name="T3" fmla="*/ 309 h 361"/>
                <a:gd name="T4" fmla="*/ 310 w 361"/>
                <a:gd name="T5" fmla="*/ 274 h 361"/>
                <a:gd name="T6" fmla="*/ 274 w 361"/>
                <a:gd name="T7" fmla="*/ 51 h 361"/>
                <a:gd name="T8" fmla="*/ 51 w 361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1" h="361">
                  <a:moveTo>
                    <a:pt x="51" y="87"/>
                  </a:moveTo>
                  <a:cubicBezTo>
                    <a:pt x="0" y="158"/>
                    <a:pt x="16" y="258"/>
                    <a:pt x="87" y="309"/>
                  </a:cubicBezTo>
                  <a:cubicBezTo>
                    <a:pt x="158" y="361"/>
                    <a:pt x="258" y="345"/>
                    <a:pt x="310" y="274"/>
                  </a:cubicBezTo>
                  <a:cubicBezTo>
                    <a:pt x="361" y="202"/>
                    <a:pt x="345" y="103"/>
                    <a:pt x="274" y="51"/>
                  </a:cubicBezTo>
                  <a:cubicBezTo>
                    <a:pt x="203" y="0"/>
                    <a:pt x="103" y="16"/>
                    <a:pt x="51" y="87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Freeform 3270"/>
            <p:cNvSpPr/>
            <p:nvPr userDrawn="1"/>
          </p:nvSpPr>
          <p:spPr bwMode="auto">
            <a:xfrm>
              <a:off x="10549814" y="5739929"/>
              <a:ext cx="737794" cy="734878"/>
            </a:xfrm>
            <a:custGeom>
              <a:avLst/>
              <a:gdLst>
                <a:gd name="T0" fmla="*/ 52 w 362"/>
                <a:gd name="T1" fmla="*/ 87 h 361"/>
                <a:gd name="T2" fmla="*/ 88 w 362"/>
                <a:gd name="T3" fmla="*/ 310 h 361"/>
                <a:gd name="T4" fmla="*/ 310 w 362"/>
                <a:gd name="T5" fmla="*/ 274 h 361"/>
                <a:gd name="T6" fmla="*/ 274 w 362"/>
                <a:gd name="T7" fmla="*/ 51 h 361"/>
                <a:gd name="T8" fmla="*/ 52 w 362"/>
                <a:gd name="T9" fmla="*/ 8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361">
                  <a:moveTo>
                    <a:pt x="52" y="87"/>
                  </a:moveTo>
                  <a:cubicBezTo>
                    <a:pt x="0" y="158"/>
                    <a:pt x="16" y="258"/>
                    <a:pt x="88" y="310"/>
                  </a:cubicBezTo>
                  <a:cubicBezTo>
                    <a:pt x="159" y="361"/>
                    <a:pt x="259" y="345"/>
                    <a:pt x="310" y="274"/>
                  </a:cubicBezTo>
                  <a:cubicBezTo>
                    <a:pt x="362" y="202"/>
                    <a:pt x="346" y="103"/>
                    <a:pt x="274" y="51"/>
                  </a:cubicBezTo>
                  <a:cubicBezTo>
                    <a:pt x="203" y="0"/>
                    <a:pt x="104" y="16"/>
                    <a:pt x="52" y="87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 userDrawn="1"/>
          </p:nvSpPr>
          <p:spPr bwMode="auto">
            <a:xfrm>
              <a:off x="11406855" y="6022655"/>
              <a:ext cx="786353" cy="810760"/>
            </a:xfrm>
            <a:custGeom>
              <a:avLst/>
              <a:gdLst>
                <a:gd name="connsiteX0" fmla="*/ 676024 w 856144"/>
                <a:gd name="connsiteY0" fmla="*/ 1578 h 882717"/>
                <a:gd name="connsiteX1" fmla="*/ 795126 w 856144"/>
                <a:gd name="connsiteY1" fmla="*/ 21526 h 882717"/>
                <a:gd name="connsiteX2" fmla="*/ 856144 w 856144"/>
                <a:gd name="connsiteY2" fmla="*/ 44401 h 882717"/>
                <a:gd name="connsiteX3" fmla="*/ 856144 w 856144"/>
                <a:gd name="connsiteY3" fmla="*/ 882717 h 882717"/>
                <a:gd name="connsiteX4" fmla="*/ 56016 w 856144"/>
                <a:gd name="connsiteY4" fmla="*/ 882717 h 882717"/>
                <a:gd name="connsiteX5" fmla="*/ 30672 w 856144"/>
                <a:gd name="connsiteY5" fmla="*/ 824846 h 882717"/>
                <a:gd name="connsiteX6" fmla="*/ 218312 w 856144"/>
                <a:gd name="connsiteY6" fmla="*/ 152962 h 882717"/>
                <a:gd name="connsiteX7" fmla="*/ 676024 w 856144"/>
                <a:gd name="connsiteY7" fmla="*/ 1578 h 88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6144" h="882717">
                  <a:moveTo>
                    <a:pt x="676024" y="1578"/>
                  </a:moveTo>
                  <a:cubicBezTo>
                    <a:pt x="716198" y="4415"/>
                    <a:pt x="756096" y="11074"/>
                    <a:pt x="795126" y="21526"/>
                  </a:cubicBezTo>
                  <a:lnTo>
                    <a:pt x="856144" y="44401"/>
                  </a:lnTo>
                  <a:lnTo>
                    <a:pt x="856144" y="882717"/>
                  </a:lnTo>
                  <a:lnTo>
                    <a:pt x="56016" y="882717"/>
                  </a:lnTo>
                  <a:lnTo>
                    <a:pt x="30672" y="824846"/>
                  </a:lnTo>
                  <a:cubicBezTo>
                    <a:pt x="-45176" y="590921"/>
                    <a:pt x="20492" y="323994"/>
                    <a:pt x="218312" y="152962"/>
                  </a:cubicBezTo>
                  <a:cubicBezTo>
                    <a:pt x="350196" y="40047"/>
                    <a:pt x="515324" y="-9768"/>
                    <a:pt x="676024" y="1578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 userDrawn="1"/>
          </p:nvSpPr>
          <p:spPr bwMode="auto">
            <a:xfrm>
              <a:off x="11313892" y="6023747"/>
              <a:ext cx="884941" cy="828541"/>
            </a:xfrm>
            <a:custGeom>
              <a:avLst/>
              <a:gdLst>
                <a:gd name="connsiteX0" fmla="*/ 677017 w 963481"/>
                <a:gd name="connsiteY0" fmla="*/ 1579 h 902076"/>
                <a:gd name="connsiteX1" fmla="*/ 910499 w 963481"/>
                <a:gd name="connsiteY1" fmla="*/ 64161 h 902076"/>
                <a:gd name="connsiteX2" fmla="*/ 963481 w 963481"/>
                <a:gd name="connsiteY2" fmla="*/ 96956 h 902076"/>
                <a:gd name="connsiteX3" fmla="*/ 963481 w 963481"/>
                <a:gd name="connsiteY3" fmla="*/ 902076 h 902076"/>
                <a:gd name="connsiteX4" fmla="*/ 64393 w 963481"/>
                <a:gd name="connsiteY4" fmla="*/ 902076 h 902076"/>
                <a:gd name="connsiteX5" fmla="*/ 30753 w 963481"/>
                <a:gd name="connsiteY5" fmla="*/ 825013 h 902076"/>
                <a:gd name="connsiteX6" fmla="*/ 217753 w 963481"/>
                <a:gd name="connsiteY6" fmla="*/ 154242 h 902076"/>
                <a:gd name="connsiteX7" fmla="*/ 677017 w 963481"/>
                <a:gd name="connsiteY7" fmla="*/ 1579 h 90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3481" h="902076">
                  <a:moveTo>
                    <a:pt x="677017" y="1579"/>
                  </a:moveTo>
                  <a:cubicBezTo>
                    <a:pt x="757631" y="7259"/>
                    <a:pt x="837065" y="28247"/>
                    <a:pt x="910499" y="64161"/>
                  </a:cubicBezTo>
                  <a:lnTo>
                    <a:pt x="963481" y="96956"/>
                  </a:lnTo>
                  <a:lnTo>
                    <a:pt x="963481" y="902076"/>
                  </a:lnTo>
                  <a:lnTo>
                    <a:pt x="64393" y="902076"/>
                  </a:lnTo>
                  <a:lnTo>
                    <a:pt x="30753" y="825013"/>
                  </a:lnTo>
                  <a:cubicBezTo>
                    <a:pt x="-44899" y="591448"/>
                    <a:pt x="19621" y="325467"/>
                    <a:pt x="217753" y="154242"/>
                  </a:cubicBezTo>
                  <a:cubicBezTo>
                    <a:pt x="349845" y="40091"/>
                    <a:pt x="515789" y="-9780"/>
                    <a:pt x="677017" y="1579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 userDrawn="1"/>
          </p:nvSpPr>
          <p:spPr bwMode="auto">
            <a:xfrm>
              <a:off x="10722314" y="6184713"/>
              <a:ext cx="1157732" cy="652568"/>
            </a:xfrm>
            <a:custGeom>
              <a:avLst/>
              <a:gdLst>
                <a:gd name="connsiteX0" fmla="*/ 603283 w 1260483"/>
                <a:gd name="connsiteY0" fmla="*/ 603 h 710485"/>
                <a:gd name="connsiteX1" fmla="*/ 1200343 w 1260483"/>
                <a:gd name="connsiteY1" fmla="*/ 360707 h 710485"/>
                <a:gd name="connsiteX2" fmla="*/ 1260483 w 1260483"/>
                <a:gd name="connsiteY2" fmla="*/ 604653 h 710485"/>
                <a:gd name="connsiteX3" fmla="*/ 1254687 w 1260483"/>
                <a:gd name="connsiteY3" fmla="*/ 710485 h 710485"/>
                <a:gd name="connsiteX4" fmla="*/ 8021 w 1260483"/>
                <a:gd name="connsiteY4" fmla="*/ 710485 h 710485"/>
                <a:gd name="connsiteX5" fmla="*/ 575 w 1260483"/>
                <a:gd name="connsiteY5" fmla="*/ 658198 h 710485"/>
                <a:gd name="connsiteX6" fmla="*/ 360059 w 1260483"/>
                <a:gd name="connsiteY6" fmla="*/ 61659 h 710485"/>
                <a:gd name="connsiteX7" fmla="*/ 603283 w 1260483"/>
                <a:gd name="connsiteY7" fmla="*/ 603 h 71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483" h="710485">
                  <a:moveTo>
                    <a:pt x="603283" y="603"/>
                  </a:moveTo>
                  <a:cubicBezTo>
                    <a:pt x="849071" y="-10196"/>
                    <a:pt x="1088933" y="124791"/>
                    <a:pt x="1200343" y="360707"/>
                  </a:cubicBezTo>
                  <a:cubicBezTo>
                    <a:pt x="1237479" y="439900"/>
                    <a:pt x="1257019" y="522692"/>
                    <a:pt x="1260483" y="604653"/>
                  </a:cubicBezTo>
                  <a:lnTo>
                    <a:pt x="1254687" y="710485"/>
                  </a:lnTo>
                  <a:lnTo>
                    <a:pt x="8021" y="710485"/>
                  </a:lnTo>
                  <a:lnTo>
                    <a:pt x="575" y="658198"/>
                  </a:lnTo>
                  <a:cubicBezTo>
                    <a:pt x="-9921" y="412626"/>
                    <a:pt x="123937" y="172971"/>
                    <a:pt x="360059" y="61659"/>
                  </a:cubicBezTo>
                  <a:cubicBezTo>
                    <a:pt x="438767" y="24001"/>
                    <a:pt x="521353" y="4203"/>
                    <a:pt x="603283" y="603"/>
                  </a:cubicBezTo>
                  <a:close/>
                </a:path>
              </a:pathLst>
            </a:custGeom>
            <a:solidFill>
              <a:srgbClr val="F16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 userDrawn="1"/>
          </p:nvSpPr>
          <p:spPr bwMode="auto">
            <a:xfrm>
              <a:off x="10820442" y="6248865"/>
              <a:ext cx="1159012" cy="602859"/>
            </a:xfrm>
            <a:custGeom>
              <a:avLst/>
              <a:gdLst>
                <a:gd name="connsiteX0" fmla="*/ 605141 w 1261877"/>
                <a:gd name="connsiteY0" fmla="*/ 506 h 677001"/>
                <a:gd name="connsiteX1" fmla="*/ 1200727 w 1261877"/>
                <a:gd name="connsiteY1" fmla="*/ 361703 h 677001"/>
                <a:gd name="connsiteX2" fmla="*/ 1261877 w 1261877"/>
                <a:gd name="connsiteY2" fmla="*/ 604820 h 677001"/>
                <a:gd name="connsiteX3" fmla="*/ 1257993 w 1261877"/>
                <a:gd name="connsiteY3" fmla="*/ 677001 h 677001"/>
                <a:gd name="connsiteX4" fmla="*/ 3301 w 1261877"/>
                <a:gd name="connsiteY4" fmla="*/ 677001 h 677001"/>
                <a:gd name="connsiteX5" fmla="*/ 507 w 1261877"/>
                <a:gd name="connsiteY5" fmla="*/ 657107 h 677001"/>
                <a:gd name="connsiteX6" fmla="*/ 362101 w 1261877"/>
                <a:gd name="connsiteY6" fmla="*/ 60308 h 677001"/>
                <a:gd name="connsiteX7" fmla="*/ 605141 w 1261877"/>
                <a:gd name="connsiteY7" fmla="*/ 506 h 67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877" h="677001">
                  <a:moveTo>
                    <a:pt x="605141" y="506"/>
                  </a:moveTo>
                  <a:cubicBezTo>
                    <a:pt x="850469" y="-9362"/>
                    <a:pt x="1089243" y="125684"/>
                    <a:pt x="1200727" y="361703"/>
                  </a:cubicBezTo>
                  <a:cubicBezTo>
                    <a:pt x="1238443" y="440376"/>
                    <a:pt x="1258271" y="522927"/>
                    <a:pt x="1261877" y="604820"/>
                  </a:cubicBezTo>
                  <a:lnTo>
                    <a:pt x="1257993" y="677001"/>
                  </a:lnTo>
                  <a:lnTo>
                    <a:pt x="3301" y="677001"/>
                  </a:lnTo>
                  <a:lnTo>
                    <a:pt x="507" y="657107"/>
                  </a:lnTo>
                  <a:cubicBezTo>
                    <a:pt x="-9373" y="411427"/>
                    <a:pt x="125823" y="171669"/>
                    <a:pt x="362101" y="60308"/>
                  </a:cubicBezTo>
                  <a:cubicBezTo>
                    <a:pt x="440861" y="23187"/>
                    <a:pt x="523365" y="3796"/>
                    <a:pt x="605141" y="506"/>
                  </a:cubicBezTo>
                  <a:close/>
                </a:path>
              </a:pathLst>
            </a:custGeom>
            <a:solidFill>
              <a:srgbClr val="FDEF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65" name="Freeform 3275"/>
            <p:cNvSpPr/>
            <p:nvPr userDrawn="1"/>
          </p:nvSpPr>
          <p:spPr bwMode="auto">
            <a:xfrm>
              <a:off x="8318934" y="3230553"/>
              <a:ext cx="527829" cy="545326"/>
            </a:xfrm>
            <a:custGeom>
              <a:avLst/>
              <a:gdLst>
                <a:gd name="T0" fmla="*/ 3 w 259"/>
                <a:gd name="T1" fmla="*/ 0 h 268"/>
                <a:gd name="T2" fmla="*/ 0 w 259"/>
                <a:gd name="T3" fmla="*/ 71 h 268"/>
                <a:gd name="T4" fmla="*/ 179 w 259"/>
                <a:gd name="T5" fmla="*/ 268 h 268"/>
                <a:gd name="T6" fmla="*/ 259 w 259"/>
                <a:gd name="T7" fmla="*/ 224 h 268"/>
                <a:gd name="T8" fmla="*/ 3 w 259"/>
                <a:gd name="T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8">
                  <a:moveTo>
                    <a:pt x="3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55" y="122"/>
                    <a:pt x="129" y="197"/>
                    <a:pt x="179" y="268"/>
                  </a:cubicBezTo>
                  <a:cubicBezTo>
                    <a:pt x="217" y="237"/>
                    <a:pt x="259" y="224"/>
                    <a:pt x="259" y="224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Freeform 3276"/>
            <p:cNvSpPr/>
            <p:nvPr userDrawn="1"/>
          </p:nvSpPr>
          <p:spPr bwMode="auto">
            <a:xfrm>
              <a:off x="8318934" y="3376362"/>
              <a:ext cx="438885" cy="931721"/>
            </a:xfrm>
            <a:custGeom>
              <a:avLst/>
              <a:gdLst>
                <a:gd name="T0" fmla="*/ 0 w 216"/>
                <a:gd name="T1" fmla="*/ 0 h 458"/>
                <a:gd name="T2" fmla="*/ 27 w 216"/>
                <a:gd name="T3" fmla="*/ 421 h 458"/>
                <a:gd name="T4" fmla="*/ 160 w 216"/>
                <a:gd name="T5" fmla="*/ 458 h 458"/>
                <a:gd name="T6" fmla="*/ 216 w 216"/>
                <a:gd name="T7" fmla="*/ 172 h 458"/>
                <a:gd name="T8" fmla="*/ 0 w 216"/>
                <a:gd name="T9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458">
                  <a:moveTo>
                    <a:pt x="0" y="0"/>
                  </a:moveTo>
                  <a:cubicBezTo>
                    <a:pt x="0" y="0"/>
                    <a:pt x="61" y="224"/>
                    <a:pt x="27" y="421"/>
                  </a:cubicBezTo>
                  <a:cubicBezTo>
                    <a:pt x="60" y="441"/>
                    <a:pt x="103" y="457"/>
                    <a:pt x="160" y="458"/>
                  </a:cubicBezTo>
                  <a:cubicBezTo>
                    <a:pt x="79" y="323"/>
                    <a:pt x="163" y="217"/>
                    <a:pt x="216" y="172"/>
                  </a:cubicBezTo>
                  <a:cubicBezTo>
                    <a:pt x="156" y="112"/>
                    <a:pt x="75" y="4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7" name="Freeform 3277"/>
            <p:cNvSpPr/>
            <p:nvPr userDrawn="1"/>
          </p:nvSpPr>
          <p:spPr bwMode="auto">
            <a:xfrm>
              <a:off x="8180416" y="3376362"/>
              <a:ext cx="262456" cy="855900"/>
            </a:xfrm>
            <a:custGeom>
              <a:avLst/>
              <a:gdLst>
                <a:gd name="T0" fmla="*/ 68 w 129"/>
                <a:gd name="T1" fmla="*/ 0 h 421"/>
                <a:gd name="T2" fmla="*/ 59 w 129"/>
                <a:gd name="T3" fmla="*/ 240 h 421"/>
                <a:gd name="T4" fmla="*/ 0 w 129"/>
                <a:gd name="T5" fmla="*/ 299 h 421"/>
                <a:gd name="T6" fmla="*/ 95 w 129"/>
                <a:gd name="T7" fmla="*/ 421 h 421"/>
                <a:gd name="T8" fmla="*/ 68 w 129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421">
                  <a:moveTo>
                    <a:pt x="68" y="0"/>
                  </a:moveTo>
                  <a:cubicBezTo>
                    <a:pt x="59" y="240"/>
                    <a:pt x="59" y="240"/>
                    <a:pt x="59" y="240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299"/>
                    <a:pt x="19" y="374"/>
                    <a:pt x="95" y="421"/>
                  </a:cubicBezTo>
                  <a:cubicBezTo>
                    <a:pt x="129" y="224"/>
                    <a:pt x="68" y="0"/>
                    <a:pt x="68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8" name="Freeform 3278"/>
            <p:cNvSpPr/>
            <p:nvPr userDrawn="1"/>
          </p:nvSpPr>
          <p:spPr bwMode="auto">
            <a:xfrm>
              <a:off x="8577017" y="2972470"/>
              <a:ext cx="548242" cy="527829"/>
            </a:xfrm>
            <a:custGeom>
              <a:avLst/>
              <a:gdLst>
                <a:gd name="T0" fmla="*/ 0 w 269"/>
                <a:gd name="T1" fmla="*/ 3 h 259"/>
                <a:gd name="T2" fmla="*/ 71 w 269"/>
                <a:gd name="T3" fmla="*/ 0 h 259"/>
                <a:gd name="T4" fmla="*/ 269 w 269"/>
                <a:gd name="T5" fmla="*/ 179 h 259"/>
                <a:gd name="T6" fmla="*/ 224 w 269"/>
                <a:gd name="T7" fmla="*/ 259 h 259"/>
                <a:gd name="T8" fmla="*/ 0 w 269"/>
                <a:gd name="T9" fmla="*/ 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59">
                  <a:moveTo>
                    <a:pt x="0" y="3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23" y="55"/>
                    <a:pt x="197" y="129"/>
                    <a:pt x="269" y="179"/>
                  </a:cubicBezTo>
                  <a:cubicBezTo>
                    <a:pt x="237" y="217"/>
                    <a:pt x="224" y="259"/>
                    <a:pt x="224" y="259"/>
                  </a:cubicBezTo>
                  <a:cubicBezTo>
                    <a:pt x="0" y="3"/>
                    <a:pt x="0" y="3"/>
                    <a:pt x="0" y="3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9" name="Freeform 3279"/>
            <p:cNvSpPr/>
            <p:nvPr userDrawn="1"/>
          </p:nvSpPr>
          <p:spPr bwMode="auto">
            <a:xfrm>
              <a:off x="8721368" y="2972470"/>
              <a:ext cx="933178" cy="440344"/>
            </a:xfrm>
            <a:custGeom>
              <a:avLst/>
              <a:gdLst>
                <a:gd name="T0" fmla="*/ 0 w 458"/>
                <a:gd name="T1" fmla="*/ 0 h 216"/>
                <a:gd name="T2" fmla="*/ 421 w 458"/>
                <a:gd name="T3" fmla="*/ 26 h 216"/>
                <a:gd name="T4" fmla="*/ 458 w 458"/>
                <a:gd name="T5" fmla="*/ 160 h 216"/>
                <a:gd name="T6" fmla="*/ 172 w 458"/>
                <a:gd name="T7" fmla="*/ 216 h 216"/>
                <a:gd name="T8" fmla="*/ 0 w 458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216">
                  <a:moveTo>
                    <a:pt x="0" y="0"/>
                  </a:moveTo>
                  <a:cubicBezTo>
                    <a:pt x="0" y="0"/>
                    <a:pt x="224" y="61"/>
                    <a:pt x="421" y="26"/>
                  </a:cubicBezTo>
                  <a:cubicBezTo>
                    <a:pt x="441" y="59"/>
                    <a:pt x="457" y="103"/>
                    <a:pt x="458" y="160"/>
                  </a:cubicBezTo>
                  <a:cubicBezTo>
                    <a:pt x="323" y="78"/>
                    <a:pt x="217" y="162"/>
                    <a:pt x="172" y="216"/>
                  </a:cubicBezTo>
                  <a:cubicBezTo>
                    <a:pt x="112" y="156"/>
                    <a:pt x="47" y="75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0" name="Freeform 3280"/>
            <p:cNvSpPr/>
            <p:nvPr userDrawn="1"/>
          </p:nvSpPr>
          <p:spPr bwMode="auto">
            <a:xfrm>
              <a:off x="8721368" y="2844398"/>
              <a:ext cx="858815" cy="263915"/>
            </a:xfrm>
            <a:custGeom>
              <a:avLst/>
              <a:gdLst>
                <a:gd name="T0" fmla="*/ 0 w 421"/>
                <a:gd name="T1" fmla="*/ 69 h 130"/>
                <a:gd name="T2" fmla="*/ 240 w 421"/>
                <a:gd name="T3" fmla="*/ 60 h 130"/>
                <a:gd name="T4" fmla="*/ 299 w 421"/>
                <a:gd name="T5" fmla="*/ 0 h 130"/>
                <a:gd name="T6" fmla="*/ 421 w 421"/>
                <a:gd name="T7" fmla="*/ 95 h 130"/>
                <a:gd name="T8" fmla="*/ 0 w 421"/>
                <a:gd name="T9" fmla="*/ 6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" h="130">
                  <a:moveTo>
                    <a:pt x="0" y="69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0"/>
                    <a:pt x="374" y="20"/>
                    <a:pt x="421" y="95"/>
                  </a:cubicBezTo>
                  <a:cubicBezTo>
                    <a:pt x="224" y="130"/>
                    <a:pt x="0" y="69"/>
                    <a:pt x="0" y="69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1" name="Freeform 3281"/>
            <p:cNvSpPr/>
            <p:nvPr userDrawn="1"/>
          </p:nvSpPr>
          <p:spPr bwMode="auto">
            <a:xfrm>
              <a:off x="9765361" y="3229094"/>
              <a:ext cx="629895" cy="624063"/>
            </a:xfrm>
            <a:custGeom>
              <a:avLst/>
              <a:gdLst>
                <a:gd name="T0" fmla="*/ 11 w 309"/>
                <a:gd name="T1" fmla="*/ 10 h 307"/>
                <a:gd name="T2" fmla="*/ 45 w 309"/>
                <a:gd name="T3" fmla="*/ 145 h 307"/>
                <a:gd name="T4" fmla="*/ 300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8 w 309"/>
                <a:gd name="T11" fmla="*/ 45 h 307"/>
                <a:gd name="T12" fmla="*/ 11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1" y="10"/>
                  </a:moveTo>
                  <a:cubicBezTo>
                    <a:pt x="0" y="31"/>
                    <a:pt x="4" y="94"/>
                    <a:pt x="45" y="145"/>
                  </a:cubicBezTo>
                  <a:cubicBezTo>
                    <a:pt x="86" y="200"/>
                    <a:pt x="166" y="242"/>
                    <a:pt x="300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8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8" y="45"/>
                  </a:cubicBezTo>
                  <a:cubicBezTo>
                    <a:pt x="96" y="4"/>
                    <a:pt x="32" y="0"/>
                    <a:pt x="11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2" name="Freeform 3282"/>
            <p:cNvSpPr/>
            <p:nvPr userDrawn="1"/>
          </p:nvSpPr>
          <p:spPr bwMode="auto">
            <a:xfrm>
              <a:off x="9771193" y="3233469"/>
              <a:ext cx="478254" cy="473880"/>
            </a:xfrm>
            <a:custGeom>
              <a:avLst/>
              <a:gdLst>
                <a:gd name="T0" fmla="*/ 8 w 235"/>
                <a:gd name="T1" fmla="*/ 8 h 233"/>
                <a:gd name="T2" fmla="*/ 34 w 235"/>
                <a:gd name="T3" fmla="*/ 111 h 233"/>
                <a:gd name="T4" fmla="*/ 227 w 235"/>
                <a:gd name="T5" fmla="*/ 230 h 233"/>
                <a:gd name="T6" fmla="*/ 235 w 235"/>
                <a:gd name="T7" fmla="*/ 233 h 233"/>
                <a:gd name="T8" fmla="*/ 231 w 235"/>
                <a:gd name="T9" fmla="*/ 226 h 233"/>
                <a:gd name="T10" fmla="*/ 112 w 235"/>
                <a:gd name="T11" fmla="*/ 35 h 233"/>
                <a:gd name="T12" fmla="*/ 8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8" y="8"/>
                  </a:moveTo>
                  <a:cubicBezTo>
                    <a:pt x="0" y="24"/>
                    <a:pt x="3" y="72"/>
                    <a:pt x="34" y="111"/>
                  </a:cubicBezTo>
                  <a:cubicBezTo>
                    <a:pt x="65" y="152"/>
                    <a:pt x="125" y="184"/>
                    <a:pt x="227" y="230"/>
                  </a:cubicBezTo>
                  <a:cubicBezTo>
                    <a:pt x="230" y="231"/>
                    <a:pt x="232" y="232"/>
                    <a:pt x="235" y="233"/>
                  </a:cubicBezTo>
                  <a:cubicBezTo>
                    <a:pt x="233" y="231"/>
                    <a:pt x="232" y="229"/>
                    <a:pt x="231" y="226"/>
                  </a:cubicBezTo>
                  <a:cubicBezTo>
                    <a:pt x="186" y="126"/>
                    <a:pt x="154" y="66"/>
                    <a:pt x="112" y="35"/>
                  </a:cubicBezTo>
                  <a:cubicBezTo>
                    <a:pt x="73" y="3"/>
                    <a:pt x="24" y="0"/>
                    <a:pt x="8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3" name="Freeform 3283"/>
            <p:cNvSpPr/>
            <p:nvPr userDrawn="1"/>
          </p:nvSpPr>
          <p:spPr bwMode="auto">
            <a:xfrm>
              <a:off x="9775568" y="3237843"/>
              <a:ext cx="335361" cy="332445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2 h 164"/>
                <a:gd name="T6" fmla="*/ 165 w 165"/>
                <a:gd name="T7" fmla="*/ 164 h 164"/>
                <a:gd name="T8" fmla="*/ 163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30"/>
                    <a:pt x="160" y="162"/>
                  </a:cubicBezTo>
                  <a:cubicBezTo>
                    <a:pt x="162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3" y="159"/>
                  </a:cubicBezTo>
                  <a:cubicBezTo>
                    <a:pt x="131" y="88"/>
                    <a:pt x="108" y="47"/>
                    <a:pt x="79" y="25"/>
                  </a:cubicBezTo>
                  <a:cubicBezTo>
                    <a:pt x="52" y="3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4" name="Freeform 3284"/>
            <p:cNvSpPr/>
            <p:nvPr userDrawn="1"/>
          </p:nvSpPr>
          <p:spPr bwMode="auto">
            <a:xfrm>
              <a:off x="9139840" y="2600657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2 w 402"/>
                <a:gd name="T3" fmla="*/ 33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3 h 403"/>
                <a:gd name="T14" fmla="*/ 280 w 402"/>
                <a:gd name="T15" fmla="*/ 142 h 403"/>
                <a:gd name="T16" fmla="*/ 84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2" y="33"/>
                    <a:pt x="32" y="33"/>
                    <a:pt x="32" y="33"/>
                  </a:cubicBezTo>
                  <a:cubicBezTo>
                    <a:pt x="13" y="51"/>
                    <a:pt x="3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2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6" y="269"/>
                    <a:pt x="402" y="263"/>
                  </a:cubicBezTo>
                  <a:cubicBezTo>
                    <a:pt x="351" y="205"/>
                    <a:pt x="319" y="171"/>
                    <a:pt x="280" y="142"/>
                  </a:cubicBezTo>
                  <a:cubicBezTo>
                    <a:pt x="224" y="98"/>
                    <a:pt x="150" y="34"/>
                    <a:pt x="84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5" name="Freeform 3285"/>
            <p:cNvSpPr/>
            <p:nvPr userDrawn="1"/>
          </p:nvSpPr>
          <p:spPr bwMode="auto">
            <a:xfrm>
              <a:off x="9043606" y="2504423"/>
              <a:ext cx="266830" cy="268289"/>
            </a:xfrm>
            <a:custGeom>
              <a:avLst/>
              <a:gdLst>
                <a:gd name="T0" fmla="*/ 0 w 131"/>
                <a:gd name="T1" fmla="*/ 0 h 132"/>
                <a:gd name="T2" fmla="*/ 47 w 131"/>
                <a:gd name="T3" fmla="*/ 132 h 132"/>
                <a:gd name="T4" fmla="*/ 79 w 131"/>
                <a:gd name="T5" fmla="*/ 80 h 132"/>
                <a:gd name="T6" fmla="*/ 79 w 131"/>
                <a:gd name="T7" fmla="*/ 79 h 132"/>
                <a:gd name="T8" fmla="*/ 131 w 131"/>
                <a:gd name="T9" fmla="*/ 47 h 132"/>
                <a:gd name="T10" fmla="*/ 0 w 131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0" y="0"/>
                  </a:moveTo>
                  <a:cubicBezTo>
                    <a:pt x="2" y="11"/>
                    <a:pt x="4" y="50"/>
                    <a:pt x="47" y="132"/>
                  </a:cubicBezTo>
                  <a:cubicBezTo>
                    <a:pt x="50" y="119"/>
                    <a:pt x="60" y="98"/>
                    <a:pt x="79" y="80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97" y="60"/>
                    <a:pt x="118" y="50"/>
                    <a:pt x="131" y="47"/>
                  </a:cubicBezTo>
                  <a:cubicBezTo>
                    <a:pt x="49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6" name="Freeform 3286"/>
            <p:cNvSpPr/>
            <p:nvPr userDrawn="1"/>
          </p:nvSpPr>
          <p:spPr bwMode="auto">
            <a:xfrm>
              <a:off x="9673502" y="3135776"/>
              <a:ext cx="323696" cy="320780"/>
            </a:xfrm>
            <a:custGeom>
              <a:avLst/>
              <a:gdLst>
                <a:gd name="T0" fmla="*/ 0 w 159"/>
                <a:gd name="T1" fmla="*/ 140 h 158"/>
                <a:gd name="T2" fmla="*/ 4 w 159"/>
                <a:gd name="T3" fmla="*/ 144 h 158"/>
                <a:gd name="T4" fmla="*/ 21 w 159"/>
                <a:gd name="T5" fmla="*/ 158 h 158"/>
                <a:gd name="T6" fmla="*/ 75 w 159"/>
                <a:gd name="T7" fmla="*/ 75 h 158"/>
                <a:gd name="T8" fmla="*/ 75 w 159"/>
                <a:gd name="T9" fmla="*/ 75 h 158"/>
                <a:gd name="T10" fmla="*/ 159 w 159"/>
                <a:gd name="T11" fmla="*/ 20 h 158"/>
                <a:gd name="T12" fmla="*/ 144 w 159"/>
                <a:gd name="T13" fmla="*/ 4 h 158"/>
                <a:gd name="T14" fmla="*/ 140 w 159"/>
                <a:gd name="T15" fmla="*/ 0 h 158"/>
                <a:gd name="T16" fmla="*/ 57 w 159"/>
                <a:gd name="T17" fmla="*/ 57 h 158"/>
                <a:gd name="T18" fmla="*/ 0 w 159"/>
                <a:gd name="T19" fmla="*/ 14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58">
                  <a:moveTo>
                    <a:pt x="0" y="140"/>
                  </a:moveTo>
                  <a:cubicBezTo>
                    <a:pt x="2" y="141"/>
                    <a:pt x="3" y="142"/>
                    <a:pt x="4" y="144"/>
                  </a:cubicBezTo>
                  <a:cubicBezTo>
                    <a:pt x="10" y="149"/>
                    <a:pt x="15" y="154"/>
                    <a:pt x="21" y="158"/>
                  </a:cubicBezTo>
                  <a:cubicBezTo>
                    <a:pt x="27" y="138"/>
                    <a:pt x="45" y="10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6"/>
                    <a:pt x="159" y="20"/>
                  </a:cubicBezTo>
                  <a:cubicBezTo>
                    <a:pt x="154" y="14"/>
                    <a:pt x="149" y="9"/>
                    <a:pt x="144" y="4"/>
                  </a:cubicBezTo>
                  <a:cubicBezTo>
                    <a:pt x="143" y="2"/>
                    <a:pt x="141" y="1"/>
                    <a:pt x="140" y="0"/>
                  </a:cubicBezTo>
                  <a:cubicBezTo>
                    <a:pt x="124" y="6"/>
                    <a:pt x="89" y="24"/>
                    <a:pt x="57" y="57"/>
                  </a:cubicBezTo>
                  <a:cubicBezTo>
                    <a:pt x="25" y="89"/>
                    <a:pt x="7" y="123"/>
                    <a:pt x="0" y="140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7" name="Freeform 3287"/>
            <p:cNvSpPr/>
            <p:nvPr userDrawn="1"/>
          </p:nvSpPr>
          <p:spPr bwMode="auto">
            <a:xfrm>
              <a:off x="9673502" y="3217429"/>
              <a:ext cx="158931" cy="211424"/>
            </a:xfrm>
            <a:custGeom>
              <a:avLst/>
              <a:gdLst>
                <a:gd name="T0" fmla="*/ 76 w 78"/>
                <a:gd name="T1" fmla="*/ 0 h 104"/>
                <a:gd name="T2" fmla="*/ 57 w 78"/>
                <a:gd name="T3" fmla="*/ 17 h 104"/>
                <a:gd name="T4" fmla="*/ 3 w 78"/>
                <a:gd name="T5" fmla="*/ 94 h 104"/>
                <a:gd name="T6" fmla="*/ 0 w 78"/>
                <a:gd name="T7" fmla="*/ 100 h 104"/>
                <a:gd name="T8" fmla="*/ 4 w 78"/>
                <a:gd name="T9" fmla="*/ 104 h 104"/>
                <a:gd name="T10" fmla="*/ 5 w 78"/>
                <a:gd name="T11" fmla="*/ 104 h 104"/>
                <a:gd name="T12" fmla="*/ 61 w 78"/>
                <a:gd name="T13" fmla="*/ 21 h 104"/>
                <a:gd name="T14" fmla="*/ 78 w 78"/>
                <a:gd name="T15" fmla="*/ 5 h 104"/>
                <a:gd name="T16" fmla="*/ 76 w 78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04">
                  <a:moveTo>
                    <a:pt x="76" y="0"/>
                  </a:moveTo>
                  <a:cubicBezTo>
                    <a:pt x="70" y="5"/>
                    <a:pt x="63" y="11"/>
                    <a:pt x="57" y="17"/>
                  </a:cubicBezTo>
                  <a:cubicBezTo>
                    <a:pt x="28" y="46"/>
                    <a:pt x="11" y="76"/>
                    <a:pt x="3" y="94"/>
                  </a:cubicBezTo>
                  <a:cubicBezTo>
                    <a:pt x="2" y="96"/>
                    <a:pt x="1" y="98"/>
                    <a:pt x="0" y="100"/>
                  </a:cubicBezTo>
                  <a:cubicBezTo>
                    <a:pt x="2" y="101"/>
                    <a:pt x="3" y="102"/>
                    <a:pt x="4" y="104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11" y="86"/>
                    <a:pt x="29" y="52"/>
                    <a:pt x="61" y="21"/>
                  </a:cubicBezTo>
                  <a:cubicBezTo>
                    <a:pt x="67" y="15"/>
                    <a:pt x="72" y="10"/>
                    <a:pt x="78" y="5"/>
                  </a:cubicBezTo>
                  <a:cubicBezTo>
                    <a:pt x="77" y="3"/>
                    <a:pt x="77" y="2"/>
                    <a:pt x="76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8" name="Freeform 3288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953592" cy="713007"/>
            </a:xfrm>
            <a:custGeom>
              <a:avLst/>
              <a:gdLst>
                <a:gd name="T0" fmla="*/ 445 w 468"/>
                <a:gd name="T1" fmla="*/ 311 h 350"/>
                <a:gd name="T2" fmla="*/ 385 w 468"/>
                <a:gd name="T3" fmla="*/ 350 h 350"/>
                <a:gd name="T4" fmla="*/ 385 w 468"/>
                <a:gd name="T5" fmla="*/ 350 h 350"/>
                <a:gd name="T6" fmla="*/ 445 w 468"/>
                <a:gd name="T7" fmla="*/ 311 h 350"/>
                <a:gd name="T8" fmla="*/ 327 w 468"/>
                <a:gd name="T9" fmla="*/ 189 h 350"/>
                <a:gd name="T10" fmla="*/ 327 w 468"/>
                <a:gd name="T11" fmla="*/ 189 h 350"/>
                <a:gd name="T12" fmla="*/ 449 w 468"/>
                <a:gd name="T13" fmla="*/ 310 h 350"/>
                <a:gd name="T14" fmla="*/ 449 w 468"/>
                <a:gd name="T15" fmla="*/ 310 h 350"/>
                <a:gd name="T16" fmla="*/ 453 w 468"/>
                <a:gd name="T17" fmla="*/ 314 h 350"/>
                <a:gd name="T18" fmla="*/ 453 w 468"/>
                <a:gd name="T19" fmla="*/ 314 h 350"/>
                <a:gd name="T20" fmla="*/ 468 w 468"/>
                <a:gd name="T21" fmla="*/ 330 h 350"/>
                <a:gd name="T22" fmla="*/ 468 w 468"/>
                <a:gd name="T23" fmla="*/ 330 h 350"/>
                <a:gd name="T24" fmla="*/ 453 w 468"/>
                <a:gd name="T25" fmla="*/ 314 h 350"/>
                <a:gd name="T26" fmla="*/ 449 w 468"/>
                <a:gd name="T27" fmla="*/ 310 h 350"/>
                <a:gd name="T28" fmla="*/ 327 w 468"/>
                <a:gd name="T29" fmla="*/ 189 h 350"/>
                <a:gd name="T30" fmla="*/ 327 w 468"/>
                <a:gd name="T31" fmla="*/ 189 h 350"/>
                <a:gd name="T32" fmla="*/ 141 w 468"/>
                <a:gd name="T33" fmla="*/ 52 h 350"/>
                <a:gd name="T34" fmla="*/ 141 w 468"/>
                <a:gd name="T35" fmla="*/ 52 h 350"/>
                <a:gd name="T36" fmla="*/ 141 w 468"/>
                <a:gd name="T37" fmla="*/ 52 h 350"/>
                <a:gd name="T38" fmla="*/ 131 w 468"/>
                <a:gd name="T39" fmla="*/ 47 h 350"/>
                <a:gd name="T40" fmla="*/ 131 w 468"/>
                <a:gd name="T41" fmla="*/ 47 h 350"/>
                <a:gd name="T42" fmla="*/ 140 w 468"/>
                <a:gd name="T43" fmla="*/ 52 h 350"/>
                <a:gd name="T44" fmla="*/ 131 w 468"/>
                <a:gd name="T45" fmla="*/ 47 h 350"/>
                <a:gd name="T46" fmla="*/ 0 w 468"/>
                <a:gd name="T47" fmla="*/ 0 h 350"/>
                <a:gd name="T48" fmla="*/ 0 w 468"/>
                <a:gd name="T49" fmla="*/ 1 h 350"/>
                <a:gd name="T50" fmla="*/ 0 w 468"/>
                <a:gd name="T51" fmla="*/ 1 h 350"/>
                <a:gd name="T52" fmla="*/ 0 w 468"/>
                <a:gd name="T53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8" h="350">
                  <a:moveTo>
                    <a:pt x="445" y="311"/>
                  </a:moveTo>
                  <a:cubicBezTo>
                    <a:pt x="431" y="318"/>
                    <a:pt x="408" y="330"/>
                    <a:pt x="385" y="350"/>
                  </a:cubicBezTo>
                  <a:cubicBezTo>
                    <a:pt x="385" y="350"/>
                    <a:pt x="385" y="350"/>
                    <a:pt x="385" y="350"/>
                  </a:cubicBezTo>
                  <a:cubicBezTo>
                    <a:pt x="408" y="330"/>
                    <a:pt x="431" y="318"/>
                    <a:pt x="445" y="311"/>
                  </a:cubicBezTo>
                  <a:moveTo>
                    <a:pt x="327" y="189"/>
                  </a:moveTo>
                  <a:cubicBezTo>
                    <a:pt x="327" y="189"/>
                    <a:pt x="327" y="189"/>
                    <a:pt x="327" y="189"/>
                  </a:cubicBezTo>
                  <a:cubicBezTo>
                    <a:pt x="366" y="218"/>
                    <a:pt x="398" y="252"/>
                    <a:pt x="449" y="310"/>
                  </a:cubicBezTo>
                  <a:cubicBezTo>
                    <a:pt x="449" y="310"/>
                    <a:pt x="449" y="310"/>
                    <a:pt x="449" y="310"/>
                  </a:cubicBezTo>
                  <a:cubicBezTo>
                    <a:pt x="450" y="311"/>
                    <a:pt x="452" y="312"/>
                    <a:pt x="453" y="314"/>
                  </a:cubicBezTo>
                  <a:cubicBezTo>
                    <a:pt x="453" y="314"/>
                    <a:pt x="453" y="314"/>
                    <a:pt x="453" y="314"/>
                  </a:cubicBezTo>
                  <a:cubicBezTo>
                    <a:pt x="458" y="319"/>
                    <a:pt x="463" y="324"/>
                    <a:pt x="468" y="330"/>
                  </a:cubicBezTo>
                  <a:cubicBezTo>
                    <a:pt x="468" y="330"/>
                    <a:pt x="468" y="330"/>
                    <a:pt x="468" y="330"/>
                  </a:cubicBezTo>
                  <a:cubicBezTo>
                    <a:pt x="463" y="324"/>
                    <a:pt x="458" y="319"/>
                    <a:pt x="453" y="314"/>
                  </a:cubicBezTo>
                  <a:cubicBezTo>
                    <a:pt x="452" y="312"/>
                    <a:pt x="450" y="311"/>
                    <a:pt x="449" y="310"/>
                  </a:cubicBezTo>
                  <a:cubicBezTo>
                    <a:pt x="398" y="252"/>
                    <a:pt x="366" y="218"/>
                    <a:pt x="327" y="189"/>
                  </a:cubicBezTo>
                  <a:cubicBezTo>
                    <a:pt x="327" y="189"/>
                    <a:pt x="327" y="189"/>
                    <a:pt x="327" y="189"/>
                  </a:cubicBezTo>
                  <a:moveTo>
                    <a:pt x="141" y="52"/>
                  </a:moveTo>
                  <a:cubicBezTo>
                    <a:pt x="141" y="52"/>
                    <a:pt x="141" y="52"/>
                    <a:pt x="141" y="52"/>
                  </a:cubicBezTo>
                  <a:cubicBezTo>
                    <a:pt x="141" y="52"/>
                    <a:pt x="141" y="52"/>
                    <a:pt x="141" y="52"/>
                  </a:cubicBezTo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4" y="49"/>
                    <a:pt x="137" y="50"/>
                    <a:pt x="140" y="52"/>
                  </a:cubicBezTo>
                  <a:cubicBezTo>
                    <a:pt x="137" y="50"/>
                    <a:pt x="134" y="49"/>
                    <a:pt x="131" y="47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9" name="Freeform 3289"/>
            <p:cNvSpPr/>
            <p:nvPr userDrawn="1"/>
          </p:nvSpPr>
          <p:spPr bwMode="auto">
            <a:xfrm>
              <a:off x="9268152" y="2600657"/>
              <a:ext cx="689677" cy="616773"/>
            </a:xfrm>
            <a:custGeom>
              <a:avLst/>
              <a:gdLst>
                <a:gd name="T0" fmla="*/ 21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5 w 339"/>
                <a:gd name="T7" fmla="*/ 303 h 303"/>
                <a:gd name="T8" fmla="*/ 335 w 339"/>
                <a:gd name="T9" fmla="*/ 264 h 303"/>
                <a:gd name="T10" fmla="*/ 339 w 339"/>
                <a:gd name="T11" fmla="*/ 263 h 303"/>
                <a:gd name="T12" fmla="*/ 217 w 339"/>
                <a:gd name="T13" fmla="*/ 142 h 303"/>
                <a:gd name="T14" fmla="*/ 217 w 339"/>
                <a:gd name="T15" fmla="*/ 142 h 303"/>
                <a:gd name="T16" fmla="*/ 31 w 339"/>
                <a:gd name="T17" fmla="*/ 5 h 303"/>
                <a:gd name="T18" fmla="*/ 31 w 339"/>
                <a:gd name="T19" fmla="*/ 5 h 303"/>
                <a:gd name="T20" fmla="*/ 30 w 339"/>
                <a:gd name="T21" fmla="*/ 5 h 303"/>
                <a:gd name="T22" fmla="*/ 21 w 339"/>
                <a:gd name="T2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9" h="303">
                  <a:moveTo>
                    <a:pt x="21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5" y="303"/>
                  </a:cubicBezTo>
                  <a:cubicBezTo>
                    <a:pt x="298" y="283"/>
                    <a:pt x="321" y="271"/>
                    <a:pt x="335" y="264"/>
                  </a:cubicBezTo>
                  <a:cubicBezTo>
                    <a:pt x="337" y="264"/>
                    <a:pt x="338" y="263"/>
                    <a:pt x="339" y="263"/>
                  </a:cubicBezTo>
                  <a:cubicBezTo>
                    <a:pt x="288" y="205"/>
                    <a:pt x="256" y="171"/>
                    <a:pt x="217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164" y="101"/>
                    <a:pt x="95" y="41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0" y="5"/>
                  </a:cubicBezTo>
                  <a:cubicBezTo>
                    <a:pt x="27" y="3"/>
                    <a:pt x="24" y="2"/>
                    <a:pt x="21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0" name="Freeform 3290"/>
            <p:cNvSpPr/>
            <p:nvPr userDrawn="1"/>
          </p:nvSpPr>
          <p:spPr bwMode="auto">
            <a:xfrm>
              <a:off x="9970952" y="3176603"/>
              <a:ext cx="26246" cy="10207"/>
            </a:xfrm>
            <a:custGeom>
              <a:avLst/>
              <a:gdLst>
                <a:gd name="T0" fmla="*/ 13 w 13"/>
                <a:gd name="T1" fmla="*/ 0 h 5"/>
                <a:gd name="T2" fmla="*/ 0 w 13"/>
                <a:gd name="T3" fmla="*/ 5 h 5"/>
                <a:gd name="T4" fmla="*/ 13 w 13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5">
                  <a:moveTo>
                    <a:pt x="13" y="0"/>
                  </a:moveTo>
                  <a:cubicBezTo>
                    <a:pt x="9" y="1"/>
                    <a:pt x="5" y="3"/>
                    <a:pt x="0" y="5"/>
                  </a:cubicBezTo>
                  <a:cubicBezTo>
                    <a:pt x="5" y="3"/>
                    <a:pt x="9" y="1"/>
                    <a:pt x="1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1" name="Freeform 3291"/>
            <p:cNvSpPr>
              <a:spLocks noEditPoints="1"/>
            </p:cNvSpPr>
            <p:nvPr userDrawn="1"/>
          </p:nvSpPr>
          <p:spPr bwMode="auto">
            <a:xfrm>
              <a:off x="9043606" y="2504423"/>
              <a:ext cx="266830" cy="112274"/>
            </a:xfrm>
            <a:custGeom>
              <a:avLst/>
              <a:gdLst>
                <a:gd name="T0" fmla="*/ 130 w 131"/>
                <a:gd name="T1" fmla="*/ 47 h 55"/>
                <a:gd name="T2" fmla="*/ 110 w 131"/>
                <a:gd name="T3" fmla="*/ 55 h 55"/>
                <a:gd name="T4" fmla="*/ 110 w 131"/>
                <a:gd name="T5" fmla="*/ 55 h 55"/>
                <a:gd name="T6" fmla="*/ 131 w 131"/>
                <a:gd name="T7" fmla="*/ 47 h 55"/>
                <a:gd name="T8" fmla="*/ 131 w 131"/>
                <a:gd name="T9" fmla="*/ 47 h 55"/>
                <a:gd name="T10" fmla="*/ 131 w 131"/>
                <a:gd name="T11" fmla="*/ 47 h 55"/>
                <a:gd name="T12" fmla="*/ 131 w 131"/>
                <a:gd name="T13" fmla="*/ 47 h 55"/>
                <a:gd name="T14" fmla="*/ 130 w 131"/>
                <a:gd name="T15" fmla="*/ 47 h 55"/>
                <a:gd name="T16" fmla="*/ 0 w 131"/>
                <a:gd name="T17" fmla="*/ 0 h 55"/>
                <a:gd name="T18" fmla="*/ 0 w 131"/>
                <a:gd name="T19" fmla="*/ 0 h 55"/>
                <a:gd name="T20" fmla="*/ 0 w 131"/>
                <a:gd name="T21" fmla="*/ 1 h 55"/>
                <a:gd name="T22" fmla="*/ 0 w 131"/>
                <a:gd name="T23" fmla="*/ 1 h 55"/>
                <a:gd name="T24" fmla="*/ 0 w 131"/>
                <a:gd name="T25" fmla="*/ 0 h 55"/>
                <a:gd name="T26" fmla="*/ 1 w 131"/>
                <a:gd name="T27" fmla="*/ 1 h 55"/>
                <a:gd name="T28" fmla="*/ 30 w 131"/>
                <a:gd name="T29" fmla="*/ 15 h 55"/>
                <a:gd name="T30" fmla="*/ 30 w 131"/>
                <a:gd name="T31" fmla="*/ 15 h 55"/>
                <a:gd name="T32" fmla="*/ 102 w 131"/>
                <a:gd name="T33" fmla="*/ 50 h 55"/>
                <a:gd name="T34" fmla="*/ 121 w 131"/>
                <a:gd name="T35" fmla="*/ 42 h 55"/>
                <a:gd name="T36" fmla="*/ 0 w 131"/>
                <a:gd name="T3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55">
                  <a:moveTo>
                    <a:pt x="130" y="47"/>
                  </a:moveTo>
                  <a:cubicBezTo>
                    <a:pt x="125" y="48"/>
                    <a:pt x="118" y="51"/>
                    <a:pt x="110" y="55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8" y="51"/>
                    <a:pt x="125" y="48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0" y="47"/>
                    <a:pt x="130" y="47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9" y="5"/>
                    <a:pt x="19" y="10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6"/>
                    <a:pt x="102" y="50"/>
                  </a:cubicBezTo>
                  <a:cubicBezTo>
                    <a:pt x="109" y="46"/>
                    <a:pt x="116" y="43"/>
                    <a:pt x="121" y="42"/>
                  </a:cubicBezTo>
                  <a:cubicBezTo>
                    <a:pt x="46" y="4"/>
                    <a:pt x="10" y="2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2" name="Freeform 3292"/>
            <p:cNvSpPr/>
            <p:nvPr userDrawn="1"/>
          </p:nvSpPr>
          <p:spPr bwMode="auto">
            <a:xfrm>
              <a:off x="9832433" y="3143067"/>
              <a:ext cx="164764" cy="122480"/>
            </a:xfrm>
            <a:custGeom>
              <a:avLst/>
              <a:gdLst>
                <a:gd name="T0" fmla="*/ 66 w 81"/>
                <a:gd name="T1" fmla="*/ 0 h 60"/>
                <a:gd name="T2" fmla="*/ 66 w 81"/>
                <a:gd name="T3" fmla="*/ 0 h 60"/>
                <a:gd name="T4" fmla="*/ 0 w 81"/>
                <a:gd name="T5" fmla="*/ 41 h 60"/>
                <a:gd name="T6" fmla="*/ 6 w 81"/>
                <a:gd name="T7" fmla="*/ 56 h 60"/>
                <a:gd name="T8" fmla="*/ 6 w 81"/>
                <a:gd name="T9" fmla="*/ 56 h 60"/>
                <a:gd name="T10" fmla="*/ 8 w 81"/>
                <a:gd name="T11" fmla="*/ 60 h 60"/>
                <a:gd name="T12" fmla="*/ 68 w 81"/>
                <a:gd name="T13" fmla="*/ 21 h 60"/>
                <a:gd name="T14" fmla="*/ 81 w 81"/>
                <a:gd name="T15" fmla="*/ 16 h 60"/>
                <a:gd name="T16" fmla="*/ 81 w 81"/>
                <a:gd name="T17" fmla="*/ 16 h 60"/>
                <a:gd name="T18" fmla="*/ 66 w 81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60"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2" y="6"/>
                    <a:pt x="26" y="19"/>
                    <a:pt x="0" y="41"/>
                  </a:cubicBezTo>
                  <a:cubicBezTo>
                    <a:pt x="2" y="46"/>
                    <a:pt x="4" y="51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7"/>
                    <a:pt x="7" y="59"/>
                    <a:pt x="8" y="60"/>
                  </a:cubicBezTo>
                  <a:cubicBezTo>
                    <a:pt x="29" y="41"/>
                    <a:pt x="51" y="28"/>
                    <a:pt x="68" y="21"/>
                  </a:cubicBezTo>
                  <a:cubicBezTo>
                    <a:pt x="73" y="19"/>
                    <a:pt x="77" y="17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76" y="10"/>
                    <a:pt x="71" y="5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3" name="Freeform 3293"/>
            <p:cNvSpPr/>
            <p:nvPr userDrawn="1"/>
          </p:nvSpPr>
          <p:spPr bwMode="auto">
            <a:xfrm>
              <a:off x="9828059" y="3135776"/>
              <a:ext cx="138518" cy="91860"/>
            </a:xfrm>
            <a:custGeom>
              <a:avLst/>
              <a:gdLst>
                <a:gd name="T0" fmla="*/ 64 w 68"/>
                <a:gd name="T1" fmla="*/ 0 h 45"/>
                <a:gd name="T2" fmla="*/ 64 w 68"/>
                <a:gd name="T3" fmla="*/ 0 h 45"/>
                <a:gd name="T4" fmla="*/ 60 w 68"/>
                <a:gd name="T5" fmla="*/ 1 h 45"/>
                <a:gd name="T6" fmla="*/ 0 w 68"/>
                <a:gd name="T7" fmla="*/ 40 h 45"/>
                <a:gd name="T8" fmla="*/ 2 w 68"/>
                <a:gd name="T9" fmla="*/ 45 h 45"/>
                <a:gd name="T10" fmla="*/ 68 w 68"/>
                <a:gd name="T11" fmla="*/ 4 h 45"/>
                <a:gd name="T12" fmla="*/ 68 w 68"/>
                <a:gd name="T13" fmla="*/ 4 h 45"/>
                <a:gd name="T14" fmla="*/ 68 w 68"/>
                <a:gd name="T15" fmla="*/ 4 h 45"/>
                <a:gd name="T16" fmla="*/ 64 w 68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45">
                  <a:moveTo>
                    <a:pt x="64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3" y="0"/>
                    <a:pt x="62" y="1"/>
                    <a:pt x="60" y="1"/>
                  </a:cubicBezTo>
                  <a:cubicBezTo>
                    <a:pt x="46" y="8"/>
                    <a:pt x="23" y="20"/>
                    <a:pt x="0" y="40"/>
                  </a:cubicBezTo>
                  <a:cubicBezTo>
                    <a:pt x="1" y="42"/>
                    <a:pt x="1" y="43"/>
                    <a:pt x="2" y="45"/>
                  </a:cubicBezTo>
                  <a:cubicBezTo>
                    <a:pt x="28" y="23"/>
                    <a:pt x="54" y="10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7" y="2"/>
                    <a:pt x="65" y="1"/>
                    <a:pt x="64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4" name="Freeform 3294"/>
            <p:cNvSpPr/>
            <p:nvPr userDrawn="1"/>
          </p:nvSpPr>
          <p:spPr bwMode="auto">
            <a:xfrm>
              <a:off x="9290023" y="2590450"/>
              <a:ext cx="18955" cy="10207"/>
            </a:xfrm>
            <a:custGeom>
              <a:avLst/>
              <a:gdLst>
                <a:gd name="T0" fmla="*/ 0 w 9"/>
                <a:gd name="T1" fmla="*/ 0 h 5"/>
                <a:gd name="T2" fmla="*/ 0 w 9"/>
                <a:gd name="T3" fmla="*/ 0 h 5"/>
                <a:gd name="T4" fmla="*/ 9 w 9"/>
                <a:gd name="T5" fmla="*/ 5 h 5"/>
                <a:gd name="T6" fmla="*/ 9 w 9"/>
                <a:gd name="T7" fmla="*/ 4 h 5"/>
                <a:gd name="T8" fmla="*/ 0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5" name="Freeform 3295"/>
            <p:cNvSpPr/>
            <p:nvPr userDrawn="1"/>
          </p:nvSpPr>
          <p:spPr bwMode="auto">
            <a:xfrm>
              <a:off x="9176292" y="2606490"/>
              <a:ext cx="91859" cy="78737"/>
            </a:xfrm>
            <a:custGeom>
              <a:avLst/>
              <a:gdLst>
                <a:gd name="T0" fmla="*/ 37 w 45"/>
                <a:gd name="T1" fmla="*/ 0 h 39"/>
                <a:gd name="T2" fmla="*/ 8 w 45"/>
                <a:gd name="T3" fmla="*/ 23 h 39"/>
                <a:gd name="T4" fmla="*/ 8 w 45"/>
                <a:gd name="T5" fmla="*/ 23 h 39"/>
                <a:gd name="T6" fmla="*/ 0 w 45"/>
                <a:gd name="T7" fmla="*/ 31 h 39"/>
                <a:gd name="T8" fmla="*/ 4 w 45"/>
                <a:gd name="T9" fmla="*/ 39 h 39"/>
                <a:gd name="T10" fmla="*/ 13 w 45"/>
                <a:gd name="T11" fmla="*/ 29 h 39"/>
                <a:gd name="T12" fmla="*/ 14 w 45"/>
                <a:gd name="T13" fmla="*/ 29 h 39"/>
                <a:gd name="T14" fmla="*/ 45 w 45"/>
                <a:gd name="T15" fmla="*/ 5 h 39"/>
                <a:gd name="T16" fmla="*/ 37 w 4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9">
                  <a:moveTo>
                    <a:pt x="37" y="0"/>
                  </a:moveTo>
                  <a:cubicBezTo>
                    <a:pt x="27" y="6"/>
                    <a:pt x="17" y="1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5" y="26"/>
                    <a:pt x="2" y="29"/>
                    <a:pt x="0" y="31"/>
                  </a:cubicBezTo>
                  <a:cubicBezTo>
                    <a:pt x="1" y="34"/>
                    <a:pt x="3" y="36"/>
                    <a:pt x="4" y="39"/>
                  </a:cubicBezTo>
                  <a:cubicBezTo>
                    <a:pt x="7" y="36"/>
                    <a:pt x="10" y="32"/>
                    <a:pt x="13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24" y="18"/>
                    <a:pt x="35" y="10"/>
                    <a:pt x="45" y="5"/>
                  </a:cubicBezTo>
                  <a:cubicBezTo>
                    <a:pt x="42" y="3"/>
                    <a:pt x="39" y="2"/>
                    <a:pt x="37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6" name="Freeform 3296"/>
            <p:cNvSpPr/>
            <p:nvPr userDrawn="1"/>
          </p:nvSpPr>
          <p:spPr bwMode="auto">
            <a:xfrm>
              <a:off x="9252113" y="2590450"/>
              <a:ext cx="56865" cy="26246"/>
            </a:xfrm>
            <a:custGeom>
              <a:avLst/>
              <a:gdLst>
                <a:gd name="T0" fmla="*/ 19 w 28"/>
                <a:gd name="T1" fmla="*/ 0 h 13"/>
                <a:gd name="T2" fmla="*/ 0 w 28"/>
                <a:gd name="T3" fmla="*/ 8 h 13"/>
                <a:gd name="T4" fmla="*/ 8 w 28"/>
                <a:gd name="T5" fmla="*/ 13 h 13"/>
                <a:gd name="T6" fmla="*/ 28 w 28"/>
                <a:gd name="T7" fmla="*/ 5 h 13"/>
                <a:gd name="T8" fmla="*/ 19 w 28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3">
                  <a:moveTo>
                    <a:pt x="19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2" y="10"/>
                    <a:pt x="5" y="11"/>
                    <a:pt x="8" y="13"/>
                  </a:cubicBezTo>
                  <a:cubicBezTo>
                    <a:pt x="16" y="9"/>
                    <a:pt x="23" y="6"/>
                    <a:pt x="28" y="5"/>
                  </a:cubicBezTo>
                  <a:cubicBezTo>
                    <a:pt x="25" y="3"/>
                    <a:pt x="22" y="1"/>
                    <a:pt x="19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7" name="Freeform 3297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Freeform 3298"/>
            <p:cNvSpPr/>
            <p:nvPr userDrawn="1"/>
          </p:nvSpPr>
          <p:spPr bwMode="auto">
            <a:xfrm>
              <a:off x="9129633" y="2753756"/>
              <a:ext cx="10206" cy="1749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5 w 5"/>
                <a:gd name="T5" fmla="*/ 9 h 9"/>
                <a:gd name="T6" fmla="*/ 5 w 5"/>
                <a:gd name="T7" fmla="*/ 9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Freeform 3299"/>
            <p:cNvSpPr/>
            <p:nvPr userDrawn="1"/>
          </p:nvSpPr>
          <p:spPr bwMode="auto">
            <a:xfrm>
              <a:off x="9139840" y="2688143"/>
              <a:ext cx="223087" cy="400976"/>
            </a:xfrm>
            <a:custGeom>
              <a:avLst/>
              <a:gdLst>
                <a:gd name="T0" fmla="*/ 110 w 110"/>
                <a:gd name="T1" fmla="*/ 197 h 197"/>
                <a:gd name="T2" fmla="*/ 22 w 110"/>
                <a:gd name="T3" fmla="*/ 0 h 197"/>
                <a:gd name="T4" fmla="*/ 0 w 110"/>
                <a:gd name="T5" fmla="*/ 42 h 197"/>
                <a:gd name="T6" fmla="*/ 110 w 110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97">
                  <a:moveTo>
                    <a:pt x="110" y="197"/>
                  </a:moveTo>
                  <a:cubicBezTo>
                    <a:pt x="57" y="130"/>
                    <a:pt x="55" y="53"/>
                    <a:pt x="22" y="0"/>
                  </a:cubicBezTo>
                  <a:cubicBezTo>
                    <a:pt x="9" y="15"/>
                    <a:pt x="2" y="31"/>
                    <a:pt x="0" y="42"/>
                  </a:cubicBezTo>
                  <a:cubicBezTo>
                    <a:pt x="27" y="93"/>
                    <a:pt x="71" y="149"/>
                    <a:pt x="110" y="1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Freeform 3300"/>
            <p:cNvSpPr/>
            <p:nvPr userDrawn="1"/>
          </p:nvSpPr>
          <p:spPr bwMode="auto">
            <a:xfrm>
              <a:off x="9043606" y="2507339"/>
              <a:ext cx="132686" cy="246418"/>
            </a:xfrm>
            <a:custGeom>
              <a:avLst/>
              <a:gdLst>
                <a:gd name="T0" fmla="*/ 0 w 65"/>
                <a:gd name="T1" fmla="*/ 0 h 121"/>
                <a:gd name="T2" fmla="*/ 42 w 65"/>
                <a:gd name="T3" fmla="*/ 121 h 121"/>
                <a:gd name="T4" fmla="*/ 65 w 65"/>
                <a:gd name="T5" fmla="*/ 80 h 121"/>
                <a:gd name="T6" fmla="*/ 5 w 65"/>
                <a:gd name="T7" fmla="*/ 4 h 121"/>
                <a:gd name="T8" fmla="*/ 1 w 65"/>
                <a:gd name="T9" fmla="*/ 0 h 121"/>
                <a:gd name="T10" fmla="*/ 0 w 65"/>
                <a:gd name="T1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21">
                  <a:moveTo>
                    <a:pt x="0" y="0"/>
                  </a:moveTo>
                  <a:cubicBezTo>
                    <a:pt x="2" y="11"/>
                    <a:pt x="5" y="47"/>
                    <a:pt x="42" y="121"/>
                  </a:cubicBezTo>
                  <a:cubicBezTo>
                    <a:pt x="45" y="110"/>
                    <a:pt x="53" y="95"/>
                    <a:pt x="65" y="80"/>
                  </a:cubicBezTo>
                  <a:cubicBezTo>
                    <a:pt x="49" y="53"/>
                    <a:pt x="29" y="28"/>
                    <a:pt x="5" y="4"/>
                  </a:cubicBezTo>
                  <a:cubicBezTo>
                    <a:pt x="4" y="3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Freeform 3301"/>
            <p:cNvSpPr/>
            <p:nvPr userDrawn="1"/>
          </p:nvSpPr>
          <p:spPr bwMode="auto">
            <a:xfrm>
              <a:off x="9043606" y="2504423"/>
              <a:ext cx="1458" cy="291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Freeform 3302"/>
            <p:cNvSpPr/>
            <p:nvPr userDrawn="1"/>
          </p:nvSpPr>
          <p:spPr bwMode="auto">
            <a:xfrm>
              <a:off x="9139840" y="2753756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2" y="3"/>
                    <a:pt x="1" y="6"/>
                    <a:pt x="0" y="8"/>
                  </a:cubicBezTo>
                  <a:cubicBezTo>
                    <a:pt x="1" y="6"/>
                    <a:pt x="2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3" name="Freeform 3303"/>
            <p:cNvSpPr/>
            <p:nvPr userDrawn="1"/>
          </p:nvSpPr>
          <p:spPr bwMode="auto">
            <a:xfrm>
              <a:off x="9139840" y="2685226"/>
              <a:ext cx="43743" cy="86028"/>
            </a:xfrm>
            <a:custGeom>
              <a:avLst/>
              <a:gdLst>
                <a:gd name="T0" fmla="*/ 22 w 22"/>
                <a:gd name="T1" fmla="*/ 0 h 42"/>
                <a:gd name="T2" fmla="*/ 0 w 22"/>
                <a:gd name="T3" fmla="*/ 42 h 42"/>
                <a:gd name="T4" fmla="*/ 0 w 22"/>
                <a:gd name="T5" fmla="*/ 42 h 42"/>
                <a:gd name="T6" fmla="*/ 0 w 22"/>
                <a:gd name="T7" fmla="*/ 41 h 42"/>
                <a:gd name="T8" fmla="*/ 3 w 22"/>
                <a:gd name="T9" fmla="*/ 33 h 42"/>
                <a:gd name="T10" fmla="*/ 22 w 22"/>
                <a:gd name="T11" fmla="*/ 1 h 42"/>
                <a:gd name="T12" fmla="*/ 22 w 22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22" y="0"/>
                  </a:moveTo>
                  <a:cubicBezTo>
                    <a:pt x="9" y="15"/>
                    <a:pt x="2" y="31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1" y="39"/>
                    <a:pt x="2" y="36"/>
                    <a:pt x="3" y="33"/>
                  </a:cubicBezTo>
                  <a:cubicBezTo>
                    <a:pt x="7" y="23"/>
                    <a:pt x="13" y="12"/>
                    <a:pt x="22" y="1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4" name="Freeform 3304"/>
            <p:cNvSpPr/>
            <p:nvPr userDrawn="1"/>
          </p:nvSpPr>
          <p:spPr bwMode="auto">
            <a:xfrm>
              <a:off x="9129633" y="2669187"/>
              <a:ext cx="53949" cy="102066"/>
            </a:xfrm>
            <a:custGeom>
              <a:avLst/>
              <a:gdLst>
                <a:gd name="T0" fmla="*/ 23 w 27"/>
                <a:gd name="T1" fmla="*/ 0 h 50"/>
                <a:gd name="T2" fmla="*/ 0 w 27"/>
                <a:gd name="T3" fmla="*/ 41 h 50"/>
                <a:gd name="T4" fmla="*/ 5 w 27"/>
                <a:gd name="T5" fmla="*/ 50 h 50"/>
                <a:gd name="T6" fmla="*/ 27 w 27"/>
                <a:gd name="T7" fmla="*/ 8 h 50"/>
                <a:gd name="T8" fmla="*/ 23 w 2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0">
                  <a:moveTo>
                    <a:pt x="23" y="0"/>
                  </a:moveTo>
                  <a:cubicBezTo>
                    <a:pt x="11" y="15"/>
                    <a:pt x="3" y="30"/>
                    <a:pt x="0" y="41"/>
                  </a:cubicBezTo>
                  <a:cubicBezTo>
                    <a:pt x="1" y="44"/>
                    <a:pt x="3" y="47"/>
                    <a:pt x="5" y="50"/>
                  </a:cubicBezTo>
                  <a:cubicBezTo>
                    <a:pt x="7" y="39"/>
                    <a:pt x="14" y="23"/>
                    <a:pt x="27" y="8"/>
                  </a:cubicBezTo>
                  <a:cubicBezTo>
                    <a:pt x="26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5" name="Freeform 3305"/>
            <p:cNvSpPr/>
            <p:nvPr userDrawn="1"/>
          </p:nvSpPr>
          <p:spPr bwMode="auto">
            <a:xfrm>
              <a:off x="8575559" y="4418898"/>
              <a:ext cx="628437" cy="625522"/>
            </a:xfrm>
            <a:custGeom>
              <a:avLst/>
              <a:gdLst>
                <a:gd name="T0" fmla="*/ 10 w 309"/>
                <a:gd name="T1" fmla="*/ 10 h 307"/>
                <a:gd name="T2" fmla="*/ 45 w 309"/>
                <a:gd name="T3" fmla="*/ 145 h 307"/>
                <a:gd name="T4" fmla="*/ 299 w 309"/>
                <a:gd name="T5" fmla="*/ 302 h 307"/>
                <a:gd name="T6" fmla="*/ 309 w 309"/>
                <a:gd name="T7" fmla="*/ 307 h 307"/>
                <a:gd name="T8" fmla="*/ 304 w 309"/>
                <a:gd name="T9" fmla="*/ 297 h 307"/>
                <a:gd name="T10" fmla="*/ 147 w 309"/>
                <a:gd name="T11" fmla="*/ 45 h 307"/>
                <a:gd name="T12" fmla="*/ 10 w 309"/>
                <a:gd name="T13" fmla="*/ 1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9" h="307">
                  <a:moveTo>
                    <a:pt x="10" y="10"/>
                  </a:moveTo>
                  <a:cubicBezTo>
                    <a:pt x="0" y="31"/>
                    <a:pt x="3" y="94"/>
                    <a:pt x="45" y="145"/>
                  </a:cubicBezTo>
                  <a:cubicBezTo>
                    <a:pt x="86" y="200"/>
                    <a:pt x="165" y="242"/>
                    <a:pt x="299" y="302"/>
                  </a:cubicBezTo>
                  <a:cubicBezTo>
                    <a:pt x="303" y="304"/>
                    <a:pt x="306" y="305"/>
                    <a:pt x="309" y="307"/>
                  </a:cubicBezTo>
                  <a:cubicBezTo>
                    <a:pt x="307" y="304"/>
                    <a:pt x="306" y="301"/>
                    <a:pt x="304" y="297"/>
                  </a:cubicBezTo>
                  <a:cubicBezTo>
                    <a:pt x="245" y="165"/>
                    <a:pt x="203" y="86"/>
                    <a:pt x="147" y="45"/>
                  </a:cubicBezTo>
                  <a:cubicBezTo>
                    <a:pt x="96" y="4"/>
                    <a:pt x="32" y="0"/>
                    <a:pt x="10" y="10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6" name="Freeform 3306"/>
            <p:cNvSpPr/>
            <p:nvPr userDrawn="1"/>
          </p:nvSpPr>
          <p:spPr bwMode="auto">
            <a:xfrm>
              <a:off x="8578475" y="4423272"/>
              <a:ext cx="479712" cy="473880"/>
            </a:xfrm>
            <a:custGeom>
              <a:avLst/>
              <a:gdLst>
                <a:gd name="T0" fmla="*/ 9 w 235"/>
                <a:gd name="T1" fmla="*/ 8 h 233"/>
                <a:gd name="T2" fmla="*/ 35 w 235"/>
                <a:gd name="T3" fmla="*/ 111 h 233"/>
                <a:gd name="T4" fmla="*/ 228 w 235"/>
                <a:gd name="T5" fmla="*/ 230 h 233"/>
                <a:gd name="T6" fmla="*/ 235 w 235"/>
                <a:gd name="T7" fmla="*/ 233 h 233"/>
                <a:gd name="T8" fmla="*/ 232 w 235"/>
                <a:gd name="T9" fmla="*/ 226 h 233"/>
                <a:gd name="T10" fmla="*/ 113 w 235"/>
                <a:gd name="T11" fmla="*/ 35 h 233"/>
                <a:gd name="T12" fmla="*/ 9 w 235"/>
                <a:gd name="T13" fmla="*/ 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3">
                  <a:moveTo>
                    <a:pt x="9" y="8"/>
                  </a:moveTo>
                  <a:cubicBezTo>
                    <a:pt x="0" y="23"/>
                    <a:pt x="3" y="72"/>
                    <a:pt x="35" y="111"/>
                  </a:cubicBezTo>
                  <a:cubicBezTo>
                    <a:pt x="66" y="152"/>
                    <a:pt x="126" y="184"/>
                    <a:pt x="228" y="230"/>
                  </a:cubicBezTo>
                  <a:cubicBezTo>
                    <a:pt x="230" y="231"/>
                    <a:pt x="233" y="232"/>
                    <a:pt x="235" y="233"/>
                  </a:cubicBezTo>
                  <a:cubicBezTo>
                    <a:pt x="234" y="231"/>
                    <a:pt x="233" y="229"/>
                    <a:pt x="232" y="226"/>
                  </a:cubicBezTo>
                  <a:cubicBezTo>
                    <a:pt x="187" y="125"/>
                    <a:pt x="155" y="66"/>
                    <a:pt x="113" y="35"/>
                  </a:cubicBezTo>
                  <a:cubicBezTo>
                    <a:pt x="74" y="3"/>
                    <a:pt x="25" y="0"/>
                    <a:pt x="9" y="8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7" name="Freeform 3307"/>
            <p:cNvSpPr/>
            <p:nvPr userDrawn="1"/>
          </p:nvSpPr>
          <p:spPr bwMode="auto">
            <a:xfrm>
              <a:off x="8585766" y="4427646"/>
              <a:ext cx="335361" cy="333903"/>
            </a:xfrm>
            <a:custGeom>
              <a:avLst/>
              <a:gdLst>
                <a:gd name="T0" fmla="*/ 6 w 165"/>
                <a:gd name="T1" fmla="*/ 6 h 164"/>
                <a:gd name="T2" fmla="*/ 24 w 165"/>
                <a:gd name="T3" fmla="*/ 78 h 164"/>
                <a:gd name="T4" fmla="*/ 160 w 165"/>
                <a:gd name="T5" fmla="*/ 161 h 164"/>
                <a:gd name="T6" fmla="*/ 165 w 165"/>
                <a:gd name="T7" fmla="*/ 164 h 164"/>
                <a:gd name="T8" fmla="*/ 162 w 165"/>
                <a:gd name="T9" fmla="*/ 159 h 164"/>
                <a:gd name="T10" fmla="*/ 79 w 165"/>
                <a:gd name="T11" fmla="*/ 25 h 164"/>
                <a:gd name="T12" fmla="*/ 6 w 16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64">
                  <a:moveTo>
                    <a:pt x="6" y="6"/>
                  </a:moveTo>
                  <a:cubicBezTo>
                    <a:pt x="0" y="17"/>
                    <a:pt x="2" y="51"/>
                    <a:pt x="24" y="78"/>
                  </a:cubicBezTo>
                  <a:cubicBezTo>
                    <a:pt x="46" y="107"/>
                    <a:pt x="88" y="129"/>
                    <a:pt x="160" y="161"/>
                  </a:cubicBezTo>
                  <a:cubicBezTo>
                    <a:pt x="161" y="162"/>
                    <a:pt x="163" y="163"/>
                    <a:pt x="165" y="164"/>
                  </a:cubicBezTo>
                  <a:cubicBezTo>
                    <a:pt x="164" y="162"/>
                    <a:pt x="163" y="161"/>
                    <a:pt x="162" y="159"/>
                  </a:cubicBezTo>
                  <a:cubicBezTo>
                    <a:pt x="130" y="88"/>
                    <a:pt x="108" y="46"/>
                    <a:pt x="79" y="25"/>
                  </a:cubicBezTo>
                  <a:cubicBezTo>
                    <a:pt x="51" y="2"/>
                    <a:pt x="17" y="0"/>
                    <a:pt x="6" y="6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" name="Freeform 3308"/>
            <p:cNvSpPr/>
            <p:nvPr userDrawn="1"/>
          </p:nvSpPr>
          <p:spPr bwMode="auto">
            <a:xfrm>
              <a:off x="7950038" y="3790460"/>
              <a:ext cx="817989" cy="819448"/>
            </a:xfrm>
            <a:custGeom>
              <a:avLst/>
              <a:gdLst>
                <a:gd name="T0" fmla="*/ 32 w 402"/>
                <a:gd name="T1" fmla="*/ 32 h 403"/>
                <a:gd name="T2" fmla="*/ 31 w 402"/>
                <a:gd name="T3" fmla="*/ 32 h 403"/>
                <a:gd name="T4" fmla="*/ 0 w 402"/>
                <a:gd name="T5" fmla="*/ 85 h 403"/>
                <a:gd name="T6" fmla="*/ 141 w 402"/>
                <a:gd name="T7" fmla="*/ 280 h 403"/>
                <a:gd name="T8" fmla="*/ 262 w 402"/>
                <a:gd name="T9" fmla="*/ 403 h 403"/>
                <a:gd name="T10" fmla="*/ 319 w 402"/>
                <a:gd name="T11" fmla="*/ 320 h 403"/>
                <a:gd name="T12" fmla="*/ 402 w 402"/>
                <a:gd name="T13" fmla="*/ 262 h 403"/>
                <a:gd name="T14" fmla="*/ 279 w 402"/>
                <a:gd name="T15" fmla="*/ 141 h 403"/>
                <a:gd name="T16" fmla="*/ 83 w 402"/>
                <a:gd name="T17" fmla="*/ 0 h 403"/>
                <a:gd name="T18" fmla="*/ 32 w 402"/>
                <a:gd name="T19" fmla="*/ 3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403">
                  <a:moveTo>
                    <a:pt x="32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13" y="51"/>
                    <a:pt x="2" y="72"/>
                    <a:pt x="0" y="85"/>
                  </a:cubicBezTo>
                  <a:cubicBezTo>
                    <a:pt x="34" y="151"/>
                    <a:pt x="98" y="224"/>
                    <a:pt x="141" y="280"/>
                  </a:cubicBezTo>
                  <a:cubicBezTo>
                    <a:pt x="171" y="320"/>
                    <a:pt x="205" y="351"/>
                    <a:pt x="262" y="403"/>
                  </a:cubicBezTo>
                  <a:cubicBezTo>
                    <a:pt x="269" y="386"/>
                    <a:pt x="287" y="352"/>
                    <a:pt x="319" y="320"/>
                  </a:cubicBezTo>
                  <a:cubicBezTo>
                    <a:pt x="351" y="287"/>
                    <a:pt x="385" y="269"/>
                    <a:pt x="402" y="262"/>
                  </a:cubicBezTo>
                  <a:cubicBezTo>
                    <a:pt x="351" y="205"/>
                    <a:pt x="319" y="171"/>
                    <a:pt x="279" y="141"/>
                  </a:cubicBezTo>
                  <a:cubicBezTo>
                    <a:pt x="223" y="98"/>
                    <a:pt x="150" y="34"/>
                    <a:pt x="83" y="0"/>
                  </a:cubicBezTo>
                  <a:cubicBezTo>
                    <a:pt x="71" y="3"/>
                    <a:pt x="50" y="13"/>
                    <a:pt x="32" y="32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9" name="Freeform 3309"/>
            <p:cNvSpPr/>
            <p:nvPr userDrawn="1"/>
          </p:nvSpPr>
          <p:spPr bwMode="auto">
            <a:xfrm>
              <a:off x="7852345" y="3695684"/>
              <a:ext cx="266830" cy="265373"/>
            </a:xfrm>
            <a:custGeom>
              <a:avLst/>
              <a:gdLst>
                <a:gd name="T0" fmla="*/ 0 w 131"/>
                <a:gd name="T1" fmla="*/ 0 h 131"/>
                <a:gd name="T2" fmla="*/ 48 w 131"/>
                <a:gd name="T3" fmla="*/ 131 h 131"/>
                <a:gd name="T4" fmla="*/ 79 w 131"/>
                <a:gd name="T5" fmla="*/ 79 h 131"/>
                <a:gd name="T6" fmla="*/ 80 w 131"/>
                <a:gd name="T7" fmla="*/ 79 h 131"/>
                <a:gd name="T8" fmla="*/ 131 w 131"/>
                <a:gd name="T9" fmla="*/ 47 h 131"/>
                <a:gd name="T10" fmla="*/ 0 w 131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0" y="0"/>
                  </a:moveTo>
                  <a:cubicBezTo>
                    <a:pt x="2" y="11"/>
                    <a:pt x="5" y="50"/>
                    <a:pt x="48" y="131"/>
                  </a:cubicBezTo>
                  <a:cubicBezTo>
                    <a:pt x="50" y="119"/>
                    <a:pt x="61" y="98"/>
                    <a:pt x="79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98" y="60"/>
                    <a:pt x="119" y="49"/>
                    <a:pt x="131" y="47"/>
                  </a:cubicBezTo>
                  <a:cubicBezTo>
                    <a:pt x="50" y="4"/>
                    <a:pt x="11" y="2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0" name="Freeform 3310"/>
            <p:cNvSpPr/>
            <p:nvPr userDrawn="1"/>
          </p:nvSpPr>
          <p:spPr bwMode="auto">
            <a:xfrm>
              <a:off x="8483699" y="4324121"/>
              <a:ext cx="322238" cy="323696"/>
            </a:xfrm>
            <a:custGeom>
              <a:avLst/>
              <a:gdLst>
                <a:gd name="T0" fmla="*/ 0 w 158"/>
                <a:gd name="T1" fmla="*/ 141 h 159"/>
                <a:gd name="T2" fmla="*/ 4 w 158"/>
                <a:gd name="T3" fmla="*/ 145 h 159"/>
                <a:gd name="T4" fmla="*/ 20 w 158"/>
                <a:gd name="T5" fmla="*/ 159 h 159"/>
                <a:gd name="T6" fmla="*/ 74 w 158"/>
                <a:gd name="T7" fmla="*/ 76 h 159"/>
                <a:gd name="T8" fmla="*/ 75 w 158"/>
                <a:gd name="T9" fmla="*/ 75 h 159"/>
                <a:gd name="T10" fmla="*/ 158 w 158"/>
                <a:gd name="T11" fmla="*/ 21 h 159"/>
                <a:gd name="T12" fmla="*/ 144 w 158"/>
                <a:gd name="T13" fmla="*/ 4 h 159"/>
                <a:gd name="T14" fmla="*/ 140 w 158"/>
                <a:gd name="T15" fmla="*/ 0 h 159"/>
                <a:gd name="T16" fmla="*/ 57 w 158"/>
                <a:gd name="T17" fmla="*/ 58 h 159"/>
                <a:gd name="T18" fmla="*/ 0 w 158"/>
                <a:gd name="T19" fmla="*/ 14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0" y="141"/>
                  </a:moveTo>
                  <a:cubicBezTo>
                    <a:pt x="1" y="142"/>
                    <a:pt x="3" y="143"/>
                    <a:pt x="4" y="145"/>
                  </a:cubicBezTo>
                  <a:cubicBezTo>
                    <a:pt x="9" y="149"/>
                    <a:pt x="15" y="154"/>
                    <a:pt x="20" y="159"/>
                  </a:cubicBezTo>
                  <a:cubicBezTo>
                    <a:pt x="27" y="139"/>
                    <a:pt x="45" y="10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105" y="45"/>
                    <a:pt x="138" y="27"/>
                    <a:pt x="158" y="21"/>
                  </a:cubicBezTo>
                  <a:cubicBezTo>
                    <a:pt x="153" y="15"/>
                    <a:pt x="148" y="10"/>
                    <a:pt x="144" y="4"/>
                  </a:cubicBezTo>
                  <a:cubicBezTo>
                    <a:pt x="142" y="3"/>
                    <a:pt x="141" y="2"/>
                    <a:pt x="140" y="0"/>
                  </a:cubicBezTo>
                  <a:cubicBezTo>
                    <a:pt x="123" y="7"/>
                    <a:pt x="89" y="25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1" name="Freeform 3311"/>
            <p:cNvSpPr/>
            <p:nvPr userDrawn="1"/>
          </p:nvSpPr>
          <p:spPr bwMode="auto">
            <a:xfrm>
              <a:off x="8490989" y="46186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2" name="Freeform 3312"/>
            <p:cNvSpPr>
              <a:spLocks noEditPoints="1"/>
            </p:cNvSpPr>
            <p:nvPr userDrawn="1"/>
          </p:nvSpPr>
          <p:spPr bwMode="auto">
            <a:xfrm>
              <a:off x="8483699" y="4324121"/>
              <a:ext cx="291618" cy="294535"/>
            </a:xfrm>
            <a:custGeom>
              <a:avLst/>
              <a:gdLst>
                <a:gd name="T0" fmla="*/ 75 w 143"/>
                <a:gd name="T1" fmla="*/ 41 h 145"/>
                <a:gd name="T2" fmla="*/ 57 w 143"/>
                <a:gd name="T3" fmla="*/ 58 h 145"/>
                <a:gd name="T4" fmla="*/ 0 w 143"/>
                <a:gd name="T5" fmla="*/ 141 h 145"/>
                <a:gd name="T6" fmla="*/ 4 w 143"/>
                <a:gd name="T7" fmla="*/ 145 h 145"/>
                <a:gd name="T8" fmla="*/ 4 w 143"/>
                <a:gd name="T9" fmla="*/ 145 h 145"/>
                <a:gd name="T10" fmla="*/ 4 w 143"/>
                <a:gd name="T11" fmla="*/ 145 h 145"/>
                <a:gd name="T12" fmla="*/ 61 w 143"/>
                <a:gd name="T13" fmla="*/ 62 h 145"/>
                <a:gd name="T14" fmla="*/ 78 w 143"/>
                <a:gd name="T15" fmla="*/ 46 h 145"/>
                <a:gd name="T16" fmla="*/ 75 w 143"/>
                <a:gd name="T17" fmla="*/ 41 h 145"/>
                <a:gd name="T18" fmla="*/ 140 w 143"/>
                <a:gd name="T19" fmla="*/ 0 h 145"/>
                <a:gd name="T20" fmla="*/ 140 w 143"/>
                <a:gd name="T21" fmla="*/ 0 h 145"/>
                <a:gd name="T22" fmla="*/ 143 w 143"/>
                <a:gd name="T23" fmla="*/ 4 h 145"/>
                <a:gd name="T24" fmla="*/ 140 w 143"/>
                <a:gd name="T2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45">
                  <a:moveTo>
                    <a:pt x="75" y="41"/>
                  </a:moveTo>
                  <a:cubicBezTo>
                    <a:pt x="69" y="46"/>
                    <a:pt x="63" y="51"/>
                    <a:pt x="57" y="58"/>
                  </a:cubicBezTo>
                  <a:cubicBezTo>
                    <a:pt x="25" y="90"/>
                    <a:pt x="7" y="124"/>
                    <a:pt x="0" y="141"/>
                  </a:cubicBezTo>
                  <a:cubicBezTo>
                    <a:pt x="1" y="142"/>
                    <a:pt x="3" y="143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11" y="127"/>
                    <a:pt x="29" y="93"/>
                    <a:pt x="61" y="62"/>
                  </a:cubicBezTo>
                  <a:cubicBezTo>
                    <a:pt x="66" y="56"/>
                    <a:pt x="72" y="51"/>
                    <a:pt x="78" y="46"/>
                  </a:cubicBezTo>
                  <a:cubicBezTo>
                    <a:pt x="77" y="44"/>
                    <a:pt x="76" y="42"/>
                    <a:pt x="75" y="41"/>
                  </a:cubicBezTo>
                  <a:moveTo>
                    <a:pt x="14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1" y="2"/>
                    <a:pt x="142" y="3"/>
                    <a:pt x="143" y="4"/>
                  </a:cubicBezTo>
                  <a:cubicBezTo>
                    <a:pt x="142" y="3"/>
                    <a:pt x="141" y="2"/>
                    <a:pt x="14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3" name="Freeform 3313"/>
            <p:cNvSpPr/>
            <p:nvPr userDrawn="1"/>
          </p:nvSpPr>
          <p:spPr bwMode="auto">
            <a:xfrm>
              <a:off x="7852345" y="3695684"/>
              <a:ext cx="0" cy="1459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4" name="Freeform 3314"/>
            <p:cNvSpPr/>
            <p:nvPr userDrawn="1"/>
          </p:nvSpPr>
          <p:spPr bwMode="auto">
            <a:xfrm>
              <a:off x="7852345" y="3695684"/>
              <a:ext cx="247876" cy="100609"/>
            </a:xfrm>
            <a:custGeom>
              <a:avLst/>
              <a:gdLst>
                <a:gd name="T0" fmla="*/ 0 w 122"/>
                <a:gd name="T1" fmla="*/ 0 h 50"/>
                <a:gd name="T2" fmla="*/ 0 w 122"/>
                <a:gd name="T3" fmla="*/ 0 h 50"/>
                <a:gd name="T4" fmla="*/ 0 w 122"/>
                <a:gd name="T5" fmla="*/ 1 h 50"/>
                <a:gd name="T6" fmla="*/ 0 w 122"/>
                <a:gd name="T7" fmla="*/ 1 h 50"/>
                <a:gd name="T8" fmla="*/ 0 w 122"/>
                <a:gd name="T9" fmla="*/ 0 h 50"/>
                <a:gd name="T10" fmla="*/ 2 w 122"/>
                <a:gd name="T11" fmla="*/ 1 h 50"/>
                <a:gd name="T12" fmla="*/ 30 w 122"/>
                <a:gd name="T13" fmla="*/ 15 h 50"/>
                <a:gd name="T14" fmla="*/ 30 w 122"/>
                <a:gd name="T15" fmla="*/ 15 h 50"/>
                <a:gd name="T16" fmla="*/ 102 w 122"/>
                <a:gd name="T17" fmla="*/ 50 h 50"/>
                <a:gd name="T18" fmla="*/ 122 w 122"/>
                <a:gd name="T19" fmla="*/ 42 h 50"/>
                <a:gd name="T20" fmla="*/ 0 w 122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5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10" y="5"/>
                    <a:pt x="20" y="9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50" y="24"/>
                    <a:pt x="75" y="35"/>
                    <a:pt x="102" y="50"/>
                  </a:cubicBezTo>
                  <a:cubicBezTo>
                    <a:pt x="109" y="46"/>
                    <a:pt x="116" y="43"/>
                    <a:pt x="122" y="42"/>
                  </a:cubicBezTo>
                  <a:cubicBezTo>
                    <a:pt x="47" y="4"/>
                    <a:pt x="11" y="1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5" name="Freeform 3315"/>
            <p:cNvSpPr/>
            <p:nvPr userDrawn="1"/>
          </p:nvSpPr>
          <p:spPr bwMode="auto">
            <a:xfrm>
              <a:off x="8119176" y="3790460"/>
              <a:ext cx="156015" cy="97693"/>
            </a:xfrm>
            <a:custGeom>
              <a:avLst/>
              <a:gdLst>
                <a:gd name="T0" fmla="*/ 0 w 77"/>
                <a:gd name="T1" fmla="*/ 0 h 48"/>
                <a:gd name="T2" fmla="*/ 0 w 77"/>
                <a:gd name="T3" fmla="*/ 0 h 48"/>
                <a:gd name="T4" fmla="*/ 77 w 77"/>
                <a:gd name="T5" fmla="*/ 48 h 48"/>
                <a:gd name="T6" fmla="*/ 77 w 77"/>
                <a:gd name="T7" fmla="*/ 48 h 48"/>
                <a:gd name="T8" fmla="*/ 0 w 77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4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5" y="13"/>
                    <a:pt x="51" y="30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51" y="30"/>
                    <a:pt x="25" y="1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6" name="Freeform 3316"/>
            <p:cNvSpPr/>
            <p:nvPr userDrawn="1"/>
          </p:nvSpPr>
          <p:spPr bwMode="auto">
            <a:xfrm>
              <a:off x="8393298" y="3980012"/>
              <a:ext cx="107899" cy="86028"/>
            </a:xfrm>
            <a:custGeom>
              <a:avLst/>
              <a:gdLst>
                <a:gd name="T0" fmla="*/ 0 w 53"/>
                <a:gd name="T1" fmla="*/ 0 h 42"/>
                <a:gd name="T2" fmla="*/ 0 w 53"/>
                <a:gd name="T3" fmla="*/ 0 h 42"/>
                <a:gd name="T4" fmla="*/ 53 w 53"/>
                <a:gd name="T5" fmla="*/ 42 h 42"/>
                <a:gd name="T6" fmla="*/ 0 w 5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4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9" y="15"/>
                    <a:pt x="36" y="29"/>
                    <a:pt x="53" y="42"/>
                  </a:cubicBezTo>
                  <a:cubicBezTo>
                    <a:pt x="36" y="29"/>
                    <a:pt x="19" y="15"/>
                    <a:pt x="0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7" name="Freeform 3317"/>
            <p:cNvSpPr/>
            <p:nvPr userDrawn="1"/>
          </p:nvSpPr>
          <p:spPr bwMode="auto">
            <a:xfrm>
              <a:off x="8275192" y="3888152"/>
              <a:ext cx="118105" cy="91860"/>
            </a:xfrm>
            <a:custGeom>
              <a:avLst/>
              <a:gdLst>
                <a:gd name="T0" fmla="*/ 0 w 58"/>
                <a:gd name="T1" fmla="*/ 0 h 45"/>
                <a:gd name="T2" fmla="*/ 0 w 58"/>
                <a:gd name="T3" fmla="*/ 0 h 45"/>
                <a:gd name="T4" fmla="*/ 58 w 58"/>
                <a:gd name="T5" fmla="*/ 45 h 45"/>
                <a:gd name="T6" fmla="*/ 58 w 58"/>
                <a:gd name="T7" fmla="*/ 45 h 45"/>
                <a:gd name="T8" fmla="*/ 0 w 58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15"/>
                    <a:pt x="39" y="30"/>
                    <a:pt x="58" y="4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39" y="30"/>
                    <a:pt x="20" y="15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8" name="Freeform 3318"/>
            <p:cNvSpPr/>
            <p:nvPr userDrawn="1"/>
          </p:nvSpPr>
          <p:spPr bwMode="auto">
            <a:xfrm>
              <a:off x="8078350" y="3790460"/>
              <a:ext cx="689677" cy="616773"/>
            </a:xfrm>
            <a:custGeom>
              <a:avLst/>
              <a:gdLst>
                <a:gd name="T0" fmla="*/ 20 w 339"/>
                <a:gd name="T1" fmla="*/ 0 h 303"/>
                <a:gd name="T2" fmla="*/ 0 w 339"/>
                <a:gd name="T3" fmla="*/ 8 h 303"/>
                <a:gd name="T4" fmla="*/ 146 w 339"/>
                <a:gd name="T5" fmla="*/ 114 h 303"/>
                <a:gd name="T6" fmla="*/ 274 w 339"/>
                <a:gd name="T7" fmla="*/ 303 h 303"/>
                <a:gd name="T8" fmla="*/ 339 w 339"/>
                <a:gd name="T9" fmla="*/ 262 h 303"/>
                <a:gd name="T10" fmla="*/ 337 w 339"/>
                <a:gd name="T11" fmla="*/ 260 h 303"/>
                <a:gd name="T12" fmla="*/ 216 w 339"/>
                <a:gd name="T13" fmla="*/ 141 h 303"/>
                <a:gd name="T14" fmla="*/ 216 w 339"/>
                <a:gd name="T15" fmla="*/ 141 h 303"/>
                <a:gd name="T16" fmla="*/ 213 w 339"/>
                <a:gd name="T17" fmla="*/ 139 h 303"/>
                <a:gd name="T18" fmla="*/ 210 w 339"/>
                <a:gd name="T19" fmla="*/ 137 h 303"/>
                <a:gd name="T20" fmla="*/ 209 w 339"/>
                <a:gd name="T21" fmla="*/ 136 h 303"/>
                <a:gd name="T22" fmla="*/ 208 w 339"/>
                <a:gd name="T23" fmla="*/ 135 h 303"/>
                <a:gd name="T24" fmla="*/ 155 w 339"/>
                <a:gd name="T25" fmla="*/ 93 h 303"/>
                <a:gd name="T26" fmla="*/ 155 w 339"/>
                <a:gd name="T27" fmla="*/ 93 h 303"/>
                <a:gd name="T28" fmla="*/ 97 w 339"/>
                <a:gd name="T29" fmla="*/ 48 h 303"/>
                <a:gd name="T30" fmla="*/ 20 w 339"/>
                <a:gd name="T31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9" h="303">
                  <a:moveTo>
                    <a:pt x="20" y="0"/>
                  </a:moveTo>
                  <a:cubicBezTo>
                    <a:pt x="15" y="1"/>
                    <a:pt x="8" y="4"/>
                    <a:pt x="0" y="8"/>
                  </a:cubicBezTo>
                  <a:cubicBezTo>
                    <a:pt x="48" y="35"/>
                    <a:pt x="102" y="71"/>
                    <a:pt x="146" y="114"/>
                  </a:cubicBezTo>
                  <a:cubicBezTo>
                    <a:pt x="190" y="160"/>
                    <a:pt x="235" y="214"/>
                    <a:pt x="274" y="303"/>
                  </a:cubicBezTo>
                  <a:cubicBezTo>
                    <a:pt x="300" y="281"/>
                    <a:pt x="325" y="268"/>
                    <a:pt x="339" y="262"/>
                  </a:cubicBezTo>
                  <a:cubicBezTo>
                    <a:pt x="338" y="262"/>
                    <a:pt x="338" y="261"/>
                    <a:pt x="337" y="260"/>
                  </a:cubicBezTo>
                  <a:cubicBezTo>
                    <a:pt x="287" y="204"/>
                    <a:pt x="255" y="171"/>
                    <a:pt x="216" y="141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5" y="141"/>
                    <a:pt x="214" y="140"/>
                    <a:pt x="213" y="139"/>
                  </a:cubicBezTo>
                  <a:cubicBezTo>
                    <a:pt x="212" y="138"/>
                    <a:pt x="211" y="137"/>
                    <a:pt x="210" y="137"/>
                  </a:cubicBezTo>
                  <a:cubicBezTo>
                    <a:pt x="210" y="136"/>
                    <a:pt x="209" y="136"/>
                    <a:pt x="209" y="136"/>
                  </a:cubicBezTo>
                  <a:cubicBezTo>
                    <a:pt x="209" y="136"/>
                    <a:pt x="208" y="135"/>
                    <a:pt x="208" y="135"/>
                  </a:cubicBezTo>
                  <a:cubicBezTo>
                    <a:pt x="191" y="122"/>
                    <a:pt x="174" y="108"/>
                    <a:pt x="155" y="93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36" y="78"/>
                    <a:pt x="117" y="63"/>
                    <a:pt x="97" y="48"/>
                  </a:cubicBezTo>
                  <a:cubicBezTo>
                    <a:pt x="71" y="30"/>
                    <a:pt x="45" y="13"/>
                    <a:pt x="2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9" name="Freeform 3319"/>
            <p:cNvSpPr/>
            <p:nvPr userDrawn="1"/>
          </p:nvSpPr>
          <p:spPr bwMode="auto">
            <a:xfrm>
              <a:off x="8075434" y="3789001"/>
              <a:ext cx="43743" cy="17497"/>
            </a:xfrm>
            <a:custGeom>
              <a:avLst/>
              <a:gdLst>
                <a:gd name="T0" fmla="*/ 21 w 21"/>
                <a:gd name="T1" fmla="*/ 0 h 9"/>
                <a:gd name="T2" fmla="*/ 0 w 21"/>
                <a:gd name="T3" fmla="*/ 9 h 9"/>
                <a:gd name="T4" fmla="*/ 1 w 21"/>
                <a:gd name="T5" fmla="*/ 9 h 9"/>
                <a:gd name="T6" fmla="*/ 21 w 21"/>
                <a:gd name="T7" fmla="*/ 1 h 9"/>
                <a:gd name="T8" fmla="*/ 21 w 21"/>
                <a:gd name="T9" fmla="*/ 1 h 9"/>
                <a:gd name="T10" fmla="*/ 21 w 21"/>
                <a:gd name="T11" fmla="*/ 1 h 9"/>
                <a:gd name="T12" fmla="*/ 21 w 21"/>
                <a:gd name="T13" fmla="*/ 1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15" y="2"/>
                    <a:pt x="8" y="4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9" y="5"/>
                    <a:pt x="16" y="2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0"/>
                    <a:pt x="21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0" name="Freeform 3320"/>
            <p:cNvSpPr/>
            <p:nvPr userDrawn="1"/>
          </p:nvSpPr>
          <p:spPr bwMode="auto">
            <a:xfrm>
              <a:off x="8782607" y="4366407"/>
              <a:ext cx="23329" cy="8749"/>
            </a:xfrm>
            <a:custGeom>
              <a:avLst/>
              <a:gdLst>
                <a:gd name="T0" fmla="*/ 11 w 11"/>
                <a:gd name="T1" fmla="*/ 0 h 4"/>
                <a:gd name="T2" fmla="*/ 0 w 11"/>
                <a:gd name="T3" fmla="*/ 4 h 4"/>
                <a:gd name="T4" fmla="*/ 11 w 1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cubicBezTo>
                    <a:pt x="8" y="1"/>
                    <a:pt x="4" y="2"/>
                    <a:pt x="0" y="4"/>
                  </a:cubicBezTo>
                  <a:cubicBezTo>
                    <a:pt x="4" y="2"/>
                    <a:pt x="8" y="1"/>
                    <a:pt x="1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1" name="Freeform 3321"/>
            <p:cNvSpPr/>
            <p:nvPr userDrawn="1"/>
          </p:nvSpPr>
          <p:spPr bwMode="auto">
            <a:xfrm>
              <a:off x="8642631" y="4331412"/>
              <a:ext cx="163306" cy="123938"/>
            </a:xfrm>
            <a:custGeom>
              <a:avLst/>
              <a:gdLst>
                <a:gd name="T0" fmla="*/ 66 w 80"/>
                <a:gd name="T1" fmla="*/ 0 h 61"/>
                <a:gd name="T2" fmla="*/ 66 w 80"/>
                <a:gd name="T3" fmla="*/ 1 h 61"/>
                <a:gd name="T4" fmla="*/ 0 w 80"/>
                <a:gd name="T5" fmla="*/ 42 h 61"/>
                <a:gd name="T6" fmla="*/ 6 w 80"/>
                <a:gd name="T7" fmla="*/ 57 h 61"/>
                <a:gd name="T8" fmla="*/ 7 w 80"/>
                <a:gd name="T9" fmla="*/ 61 h 61"/>
                <a:gd name="T10" fmla="*/ 69 w 80"/>
                <a:gd name="T11" fmla="*/ 21 h 61"/>
                <a:gd name="T12" fmla="*/ 80 w 80"/>
                <a:gd name="T13" fmla="*/ 17 h 61"/>
                <a:gd name="T14" fmla="*/ 80 w 80"/>
                <a:gd name="T15" fmla="*/ 17 h 61"/>
                <a:gd name="T16" fmla="*/ 66 w 8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61">
                  <a:moveTo>
                    <a:pt x="66" y="0"/>
                  </a:moveTo>
                  <a:cubicBezTo>
                    <a:pt x="66" y="1"/>
                    <a:pt x="66" y="1"/>
                    <a:pt x="66" y="1"/>
                  </a:cubicBezTo>
                  <a:cubicBezTo>
                    <a:pt x="52" y="6"/>
                    <a:pt x="26" y="20"/>
                    <a:pt x="0" y="42"/>
                  </a:cubicBezTo>
                  <a:cubicBezTo>
                    <a:pt x="2" y="47"/>
                    <a:pt x="4" y="52"/>
                    <a:pt x="6" y="57"/>
                  </a:cubicBezTo>
                  <a:cubicBezTo>
                    <a:pt x="6" y="58"/>
                    <a:pt x="7" y="60"/>
                    <a:pt x="7" y="61"/>
                  </a:cubicBezTo>
                  <a:cubicBezTo>
                    <a:pt x="29" y="41"/>
                    <a:pt x="52" y="28"/>
                    <a:pt x="69" y="21"/>
                  </a:cubicBezTo>
                  <a:cubicBezTo>
                    <a:pt x="73" y="19"/>
                    <a:pt x="77" y="18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5" y="11"/>
                    <a:pt x="70" y="6"/>
                    <a:pt x="66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2" name="Freeform 3322"/>
            <p:cNvSpPr/>
            <p:nvPr userDrawn="1"/>
          </p:nvSpPr>
          <p:spPr bwMode="auto">
            <a:xfrm>
              <a:off x="8636798" y="4324121"/>
              <a:ext cx="139977" cy="93318"/>
            </a:xfrm>
            <a:custGeom>
              <a:avLst/>
              <a:gdLst>
                <a:gd name="T0" fmla="*/ 65 w 69"/>
                <a:gd name="T1" fmla="*/ 0 h 46"/>
                <a:gd name="T2" fmla="*/ 65 w 69"/>
                <a:gd name="T3" fmla="*/ 0 h 46"/>
                <a:gd name="T4" fmla="*/ 0 w 69"/>
                <a:gd name="T5" fmla="*/ 41 h 46"/>
                <a:gd name="T6" fmla="*/ 3 w 69"/>
                <a:gd name="T7" fmla="*/ 46 h 46"/>
                <a:gd name="T8" fmla="*/ 69 w 69"/>
                <a:gd name="T9" fmla="*/ 5 h 46"/>
                <a:gd name="T10" fmla="*/ 69 w 69"/>
                <a:gd name="T11" fmla="*/ 4 h 46"/>
                <a:gd name="T12" fmla="*/ 69 w 69"/>
                <a:gd name="T13" fmla="*/ 4 h 46"/>
                <a:gd name="T14" fmla="*/ 68 w 69"/>
                <a:gd name="T15" fmla="*/ 4 h 46"/>
                <a:gd name="T16" fmla="*/ 65 w 69"/>
                <a:gd name="T17" fmla="*/ 0 h 46"/>
                <a:gd name="T18" fmla="*/ 65 w 69"/>
                <a:gd name="T19" fmla="*/ 0 h 46"/>
                <a:gd name="T20" fmla="*/ 65 w 69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46">
                  <a:moveTo>
                    <a:pt x="65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51" y="6"/>
                    <a:pt x="26" y="19"/>
                    <a:pt x="0" y="41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29" y="24"/>
                    <a:pt x="55" y="10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8" y="4"/>
                    <a:pt x="68" y="4"/>
                  </a:cubicBezTo>
                  <a:cubicBezTo>
                    <a:pt x="67" y="3"/>
                    <a:pt x="66" y="2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3" name="Freeform 3323"/>
            <p:cNvSpPr/>
            <p:nvPr userDrawn="1"/>
          </p:nvSpPr>
          <p:spPr bwMode="auto">
            <a:xfrm>
              <a:off x="8100221" y="3780253"/>
              <a:ext cx="18955" cy="8749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0 h 4"/>
                <a:gd name="T4" fmla="*/ 9 w 9"/>
                <a:gd name="T5" fmla="*/ 4 h 4"/>
                <a:gd name="T6" fmla="*/ 9 w 9"/>
                <a:gd name="T7" fmla="*/ 4 h 4"/>
                <a:gd name="T8" fmla="*/ 0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4" name="Freeform 3324"/>
            <p:cNvSpPr/>
            <p:nvPr userDrawn="1"/>
          </p:nvSpPr>
          <p:spPr bwMode="auto">
            <a:xfrm>
              <a:off x="7986490" y="3796292"/>
              <a:ext cx="88943" cy="80195"/>
            </a:xfrm>
            <a:custGeom>
              <a:avLst/>
              <a:gdLst>
                <a:gd name="T0" fmla="*/ 36 w 44"/>
                <a:gd name="T1" fmla="*/ 0 h 39"/>
                <a:gd name="T2" fmla="*/ 7 w 44"/>
                <a:gd name="T3" fmla="*/ 23 h 39"/>
                <a:gd name="T4" fmla="*/ 7 w 44"/>
                <a:gd name="T5" fmla="*/ 23 h 39"/>
                <a:gd name="T6" fmla="*/ 0 w 44"/>
                <a:gd name="T7" fmla="*/ 31 h 39"/>
                <a:gd name="T8" fmla="*/ 4 w 44"/>
                <a:gd name="T9" fmla="*/ 39 h 39"/>
                <a:gd name="T10" fmla="*/ 13 w 44"/>
                <a:gd name="T11" fmla="*/ 29 h 39"/>
                <a:gd name="T12" fmla="*/ 13 w 44"/>
                <a:gd name="T13" fmla="*/ 28 h 39"/>
                <a:gd name="T14" fmla="*/ 44 w 44"/>
                <a:gd name="T15" fmla="*/ 5 h 39"/>
                <a:gd name="T16" fmla="*/ 36 w 44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39">
                  <a:moveTo>
                    <a:pt x="36" y="0"/>
                  </a:moveTo>
                  <a:cubicBezTo>
                    <a:pt x="27" y="6"/>
                    <a:pt x="17" y="1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6"/>
                    <a:pt x="2" y="28"/>
                    <a:pt x="0" y="31"/>
                  </a:cubicBezTo>
                  <a:cubicBezTo>
                    <a:pt x="1" y="34"/>
                    <a:pt x="2" y="36"/>
                    <a:pt x="4" y="39"/>
                  </a:cubicBezTo>
                  <a:cubicBezTo>
                    <a:pt x="7" y="35"/>
                    <a:pt x="10" y="32"/>
                    <a:pt x="13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23" y="18"/>
                    <a:pt x="34" y="10"/>
                    <a:pt x="44" y="5"/>
                  </a:cubicBezTo>
                  <a:cubicBezTo>
                    <a:pt x="42" y="3"/>
                    <a:pt x="39" y="2"/>
                    <a:pt x="36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5" name="Freeform 3325"/>
            <p:cNvSpPr/>
            <p:nvPr userDrawn="1"/>
          </p:nvSpPr>
          <p:spPr bwMode="auto">
            <a:xfrm>
              <a:off x="7936915" y="3940643"/>
              <a:ext cx="10206" cy="20413"/>
            </a:xfrm>
            <a:custGeom>
              <a:avLst/>
              <a:gdLst>
                <a:gd name="T0" fmla="*/ 1 w 5"/>
                <a:gd name="T1" fmla="*/ 0 h 10"/>
                <a:gd name="T2" fmla="*/ 0 w 5"/>
                <a:gd name="T3" fmla="*/ 1 h 10"/>
                <a:gd name="T4" fmla="*/ 5 w 5"/>
                <a:gd name="T5" fmla="*/ 10 h 10"/>
                <a:gd name="T6" fmla="*/ 5 w 5"/>
                <a:gd name="T7" fmla="*/ 10 h 10"/>
                <a:gd name="T8" fmla="*/ 1 w 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2" y="4"/>
                    <a:pt x="3" y="7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6"/>
                    <a:pt x="2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6" name="Freeform 3326"/>
            <p:cNvSpPr/>
            <p:nvPr userDrawn="1"/>
          </p:nvSpPr>
          <p:spPr bwMode="auto">
            <a:xfrm>
              <a:off x="7939831" y="3940643"/>
              <a:ext cx="7290" cy="20413"/>
            </a:xfrm>
            <a:custGeom>
              <a:avLst/>
              <a:gdLst>
                <a:gd name="T0" fmla="*/ 0 w 4"/>
                <a:gd name="T1" fmla="*/ 0 h 10"/>
                <a:gd name="T2" fmla="*/ 0 w 4"/>
                <a:gd name="T3" fmla="*/ 0 h 10"/>
                <a:gd name="T4" fmla="*/ 4 w 4"/>
                <a:gd name="T5" fmla="*/ 10 h 10"/>
                <a:gd name="T6" fmla="*/ 4 w 4"/>
                <a:gd name="T7" fmla="*/ 9 h 10"/>
                <a:gd name="T8" fmla="*/ 0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3" y="6"/>
                    <a:pt x="4" y="10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3" y="6"/>
                    <a:pt x="1" y="3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7" name="Freeform 3327"/>
            <p:cNvSpPr/>
            <p:nvPr userDrawn="1"/>
          </p:nvSpPr>
          <p:spPr bwMode="auto">
            <a:xfrm>
              <a:off x="8059394" y="3780253"/>
              <a:ext cx="59781" cy="26246"/>
            </a:xfrm>
            <a:custGeom>
              <a:avLst/>
              <a:gdLst>
                <a:gd name="T0" fmla="*/ 20 w 29"/>
                <a:gd name="T1" fmla="*/ 0 h 13"/>
                <a:gd name="T2" fmla="*/ 0 w 29"/>
                <a:gd name="T3" fmla="*/ 8 h 13"/>
                <a:gd name="T4" fmla="*/ 8 w 29"/>
                <a:gd name="T5" fmla="*/ 13 h 13"/>
                <a:gd name="T6" fmla="*/ 29 w 29"/>
                <a:gd name="T7" fmla="*/ 4 h 13"/>
                <a:gd name="T8" fmla="*/ 20 w 2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20" y="0"/>
                  </a:moveTo>
                  <a:cubicBezTo>
                    <a:pt x="14" y="1"/>
                    <a:pt x="7" y="4"/>
                    <a:pt x="0" y="8"/>
                  </a:cubicBezTo>
                  <a:cubicBezTo>
                    <a:pt x="3" y="10"/>
                    <a:pt x="6" y="11"/>
                    <a:pt x="8" y="13"/>
                  </a:cubicBezTo>
                  <a:cubicBezTo>
                    <a:pt x="16" y="8"/>
                    <a:pt x="23" y="6"/>
                    <a:pt x="29" y="4"/>
                  </a:cubicBezTo>
                  <a:cubicBezTo>
                    <a:pt x="26" y="3"/>
                    <a:pt x="23" y="1"/>
                    <a:pt x="20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8" name="Freeform 3328"/>
            <p:cNvSpPr/>
            <p:nvPr userDrawn="1"/>
          </p:nvSpPr>
          <p:spPr bwMode="auto">
            <a:xfrm>
              <a:off x="7950038" y="3876487"/>
              <a:ext cx="221630" cy="402433"/>
            </a:xfrm>
            <a:custGeom>
              <a:avLst/>
              <a:gdLst>
                <a:gd name="T0" fmla="*/ 109 w 109"/>
                <a:gd name="T1" fmla="*/ 198 h 198"/>
                <a:gd name="T2" fmla="*/ 22 w 109"/>
                <a:gd name="T3" fmla="*/ 0 h 198"/>
                <a:gd name="T4" fmla="*/ 0 w 109"/>
                <a:gd name="T5" fmla="*/ 42 h 198"/>
                <a:gd name="T6" fmla="*/ 109 w 109"/>
                <a:gd name="T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98">
                  <a:moveTo>
                    <a:pt x="109" y="198"/>
                  </a:moveTo>
                  <a:cubicBezTo>
                    <a:pt x="57" y="131"/>
                    <a:pt x="55" y="54"/>
                    <a:pt x="22" y="0"/>
                  </a:cubicBezTo>
                  <a:cubicBezTo>
                    <a:pt x="9" y="16"/>
                    <a:pt x="2" y="32"/>
                    <a:pt x="0" y="42"/>
                  </a:cubicBezTo>
                  <a:cubicBezTo>
                    <a:pt x="26" y="94"/>
                    <a:pt x="70" y="149"/>
                    <a:pt x="109" y="1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9" name="Freeform 3329"/>
            <p:cNvSpPr/>
            <p:nvPr userDrawn="1"/>
          </p:nvSpPr>
          <p:spPr bwMode="auto">
            <a:xfrm>
              <a:off x="7852345" y="3697142"/>
              <a:ext cx="134144" cy="243502"/>
            </a:xfrm>
            <a:custGeom>
              <a:avLst/>
              <a:gdLst>
                <a:gd name="T0" fmla="*/ 0 w 66"/>
                <a:gd name="T1" fmla="*/ 0 h 120"/>
                <a:gd name="T2" fmla="*/ 43 w 66"/>
                <a:gd name="T3" fmla="*/ 120 h 120"/>
                <a:gd name="T4" fmla="*/ 66 w 66"/>
                <a:gd name="T5" fmla="*/ 80 h 120"/>
                <a:gd name="T6" fmla="*/ 6 w 66"/>
                <a:gd name="T7" fmla="*/ 4 h 120"/>
                <a:gd name="T8" fmla="*/ 2 w 66"/>
                <a:gd name="T9" fmla="*/ 0 h 120"/>
                <a:gd name="T10" fmla="*/ 0 w 66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20">
                  <a:moveTo>
                    <a:pt x="0" y="0"/>
                  </a:moveTo>
                  <a:cubicBezTo>
                    <a:pt x="2" y="11"/>
                    <a:pt x="6" y="47"/>
                    <a:pt x="43" y="120"/>
                  </a:cubicBezTo>
                  <a:cubicBezTo>
                    <a:pt x="45" y="110"/>
                    <a:pt x="53" y="95"/>
                    <a:pt x="66" y="80"/>
                  </a:cubicBezTo>
                  <a:cubicBezTo>
                    <a:pt x="50" y="53"/>
                    <a:pt x="30" y="28"/>
                    <a:pt x="6" y="4"/>
                  </a:cubicBezTo>
                  <a:cubicBezTo>
                    <a:pt x="4" y="3"/>
                    <a:pt x="3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0" name="Freeform 3330"/>
            <p:cNvSpPr/>
            <p:nvPr userDrawn="1"/>
          </p:nvSpPr>
          <p:spPr bwMode="auto">
            <a:xfrm>
              <a:off x="7950038" y="3943559"/>
              <a:ext cx="5832" cy="16039"/>
            </a:xfrm>
            <a:custGeom>
              <a:avLst/>
              <a:gdLst>
                <a:gd name="T0" fmla="*/ 3 w 3"/>
                <a:gd name="T1" fmla="*/ 0 h 8"/>
                <a:gd name="T2" fmla="*/ 0 w 3"/>
                <a:gd name="T3" fmla="*/ 8 h 8"/>
                <a:gd name="T4" fmla="*/ 3 w 3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1" y="3"/>
                    <a:pt x="1" y="5"/>
                    <a:pt x="0" y="8"/>
                  </a:cubicBezTo>
                  <a:cubicBezTo>
                    <a:pt x="1" y="5"/>
                    <a:pt x="1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1" name="Freeform 3331"/>
            <p:cNvSpPr/>
            <p:nvPr userDrawn="1"/>
          </p:nvSpPr>
          <p:spPr bwMode="auto">
            <a:xfrm>
              <a:off x="7947122" y="3876487"/>
              <a:ext cx="46659" cy="84569"/>
            </a:xfrm>
            <a:custGeom>
              <a:avLst/>
              <a:gdLst>
                <a:gd name="T0" fmla="*/ 23 w 23"/>
                <a:gd name="T1" fmla="*/ 0 h 42"/>
                <a:gd name="T2" fmla="*/ 0 w 23"/>
                <a:gd name="T3" fmla="*/ 41 h 42"/>
                <a:gd name="T4" fmla="*/ 1 w 23"/>
                <a:gd name="T5" fmla="*/ 42 h 42"/>
                <a:gd name="T6" fmla="*/ 1 w 23"/>
                <a:gd name="T7" fmla="*/ 41 h 42"/>
                <a:gd name="T8" fmla="*/ 4 w 23"/>
                <a:gd name="T9" fmla="*/ 33 h 42"/>
                <a:gd name="T10" fmla="*/ 23 w 23"/>
                <a:gd name="T11" fmla="*/ 0 h 42"/>
                <a:gd name="T12" fmla="*/ 23 w 2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2">
                  <a:moveTo>
                    <a:pt x="23" y="0"/>
                  </a:moveTo>
                  <a:cubicBezTo>
                    <a:pt x="10" y="15"/>
                    <a:pt x="2" y="31"/>
                    <a:pt x="0" y="41"/>
                  </a:cubicBezTo>
                  <a:cubicBezTo>
                    <a:pt x="0" y="42"/>
                    <a:pt x="0" y="42"/>
                    <a:pt x="1" y="42"/>
                  </a:cubicBezTo>
                  <a:cubicBezTo>
                    <a:pt x="1" y="42"/>
                    <a:pt x="1" y="41"/>
                    <a:pt x="1" y="41"/>
                  </a:cubicBezTo>
                  <a:cubicBezTo>
                    <a:pt x="2" y="38"/>
                    <a:pt x="2" y="36"/>
                    <a:pt x="4" y="33"/>
                  </a:cubicBezTo>
                  <a:cubicBezTo>
                    <a:pt x="7" y="23"/>
                    <a:pt x="14" y="12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2" name="Freeform 3332"/>
            <p:cNvSpPr/>
            <p:nvPr userDrawn="1"/>
          </p:nvSpPr>
          <p:spPr bwMode="auto">
            <a:xfrm>
              <a:off x="7852345" y="3695684"/>
              <a:ext cx="2916" cy="1459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3" name="Freeform 3333"/>
            <p:cNvSpPr/>
            <p:nvPr userDrawn="1"/>
          </p:nvSpPr>
          <p:spPr bwMode="auto">
            <a:xfrm>
              <a:off x="7939831" y="3860448"/>
              <a:ext cx="53949" cy="99150"/>
            </a:xfrm>
            <a:custGeom>
              <a:avLst/>
              <a:gdLst>
                <a:gd name="T0" fmla="*/ 23 w 27"/>
                <a:gd name="T1" fmla="*/ 0 h 49"/>
                <a:gd name="T2" fmla="*/ 0 w 27"/>
                <a:gd name="T3" fmla="*/ 40 h 49"/>
                <a:gd name="T4" fmla="*/ 4 w 27"/>
                <a:gd name="T5" fmla="*/ 49 h 49"/>
                <a:gd name="T6" fmla="*/ 27 w 27"/>
                <a:gd name="T7" fmla="*/ 8 h 49"/>
                <a:gd name="T8" fmla="*/ 23 w 27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49">
                  <a:moveTo>
                    <a:pt x="23" y="0"/>
                  </a:moveTo>
                  <a:cubicBezTo>
                    <a:pt x="10" y="15"/>
                    <a:pt x="2" y="30"/>
                    <a:pt x="0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6" y="39"/>
                    <a:pt x="14" y="23"/>
                    <a:pt x="27" y="8"/>
                  </a:cubicBezTo>
                  <a:cubicBezTo>
                    <a:pt x="25" y="5"/>
                    <a:pt x="24" y="3"/>
                    <a:pt x="23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4" name="Freeform 3334"/>
            <p:cNvSpPr/>
            <p:nvPr userDrawn="1"/>
          </p:nvSpPr>
          <p:spPr bwMode="auto">
            <a:xfrm>
              <a:off x="8746156" y="3371987"/>
              <a:ext cx="1239378" cy="1229172"/>
            </a:xfrm>
            <a:custGeom>
              <a:avLst/>
              <a:gdLst>
                <a:gd name="T0" fmla="*/ 21 w 608"/>
                <a:gd name="T1" fmla="*/ 21 h 604"/>
                <a:gd name="T2" fmla="*/ 88 w 608"/>
                <a:gd name="T3" fmla="*/ 287 h 604"/>
                <a:gd name="T4" fmla="*/ 589 w 608"/>
                <a:gd name="T5" fmla="*/ 595 h 604"/>
                <a:gd name="T6" fmla="*/ 608 w 608"/>
                <a:gd name="T7" fmla="*/ 604 h 604"/>
                <a:gd name="T8" fmla="*/ 598 w 608"/>
                <a:gd name="T9" fmla="*/ 586 h 604"/>
                <a:gd name="T10" fmla="*/ 290 w 608"/>
                <a:gd name="T11" fmla="*/ 90 h 604"/>
                <a:gd name="T12" fmla="*/ 21 w 608"/>
                <a:gd name="T13" fmla="*/ 2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8" h="604">
                  <a:moveTo>
                    <a:pt x="21" y="21"/>
                  </a:moveTo>
                  <a:cubicBezTo>
                    <a:pt x="0" y="61"/>
                    <a:pt x="7" y="186"/>
                    <a:pt x="88" y="287"/>
                  </a:cubicBezTo>
                  <a:cubicBezTo>
                    <a:pt x="169" y="394"/>
                    <a:pt x="325" y="477"/>
                    <a:pt x="589" y="595"/>
                  </a:cubicBezTo>
                  <a:cubicBezTo>
                    <a:pt x="595" y="598"/>
                    <a:pt x="601" y="601"/>
                    <a:pt x="608" y="604"/>
                  </a:cubicBezTo>
                  <a:cubicBezTo>
                    <a:pt x="604" y="598"/>
                    <a:pt x="602" y="592"/>
                    <a:pt x="598" y="586"/>
                  </a:cubicBezTo>
                  <a:cubicBezTo>
                    <a:pt x="481" y="325"/>
                    <a:pt x="399" y="171"/>
                    <a:pt x="290" y="90"/>
                  </a:cubicBezTo>
                  <a:cubicBezTo>
                    <a:pt x="189" y="9"/>
                    <a:pt x="62" y="0"/>
                    <a:pt x="21" y="21"/>
                  </a:cubicBezTo>
                </a:path>
              </a:pathLst>
            </a:custGeom>
            <a:solidFill>
              <a:srgbClr val="F1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5" name="Freeform 3335"/>
            <p:cNvSpPr/>
            <p:nvPr userDrawn="1"/>
          </p:nvSpPr>
          <p:spPr bwMode="auto">
            <a:xfrm>
              <a:off x="8756362" y="3382194"/>
              <a:ext cx="941927" cy="933179"/>
            </a:xfrm>
            <a:custGeom>
              <a:avLst/>
              <a:gdLst>
                <a:gd name="T0" fmla="*/ 16 w 462"/>
                <a:gd name="T1" fmla="*/ 15 h 459"/>
                <a:gd name="T2" fmla="*/ 67 w 462"/>
                <a:gd name="T3" fmla="*/ 218 h 459"/>
                <a:gd name="T4" fmla="*/ 448 w 462"/>
                <a:gd name="T5" fmla="*/ 452 h 459"/>
                <a:gd name="T6" fmla="*/ 462 w 462"/>
                <a:gd name="T7" fmla="*/ 459 h 459"/>
                <a:gd name="T8" fmla="*/ 455 w 462"/>
                <a:gd name="T9" fmla="*/ 445 h 459"/>
                <a:gd name="T10" fmla="*/ 221 w 462"/>
                <a:gd name="T11" fmla="*/ 68 h 459"/>
                <a:gd name="T12" fmla="*/ 16 w 462"/>
                <a:gd name="T13" fmla="*/ 15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2" h="459">
                  <a:moveTo>
                    <a:pt x="16" y="15"/>
                  </a:moveTo>
                  <a:cubicBezTo>
                    <a:pt x="0" y="46"/>
                    <a:pt x="5" y="141"/>
                    <a:pt x="67" y="218"/>
                  </a:cubicBezTo>
                  <a:cubicBezTo>
                    <a:pt x="129" y="299"/>
                    <a:pt x="247" y="362"/>
                    <a:pt x="448" y="452"/>
                  </a:cubicBezTo>
                  <a:cubicBezTo>
                    <a:pt x="453" y="454"/>
                    <a:pt x="457" y="457"/>
                    <a:pt x="462" y="459"/>
                  </a:cubicBezTo>
                  <a:cubicBezTo>
                    <a:pt x="459" y="454"/>
                    <a:pt x="457" y="450"/>
                    <a:pt x="455" y="445"/>
                  </a:cubicBezTo>
                  <a:cubicBezTo>
                    <a:pt x="366" y="247"/>
                    <a:pt x="303" y="130"/>
                    <a:pt x="221" y="68"/>
                  </a:cubicBezTo>
                  <a:cubicBezTo>
                    <a:pt x="144" y="6"/>
                    <a:pt x="47" y="0"/>
                    <a:pt x="16" y="15"/>
                  </a:cubicBezTo>
                </a:path>
              </a:pathLst>
            </a:custGeom>
            <a:solidFill>
              <a:srgbClr val="F793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6" name="Freeform 3336"/>
            <p:cNvSpPr/>
            <p:nvPr userDrawn="1"/>
          </p:nvSpPr>
          <p:spPr bwMode="auto">
            <a:xfrm>
              <a:off x="8766569" y="3389484"/>
              <a:ext cx="660515" cy="656141"/>
            </a:xfrm>
            <a:custGeom>
              <a:avLst/>
              <a:gdLst>
                <a:gd name="T0" fmla="*/ 11 w 324"/>
                <a:gd name="T1" fmla="*/ 11 h 322"/>
                <a:gd name="T2" fmla="*/ 47 w 324"/>
                <a:gd name="T3" fmla="*/ 153 h 322"/>
                <a:gd name="T4" fmla="*/ 314 w 324"/>
                <a:gd name="T5" fmla="*/ 318 h 322"/>
                <a:gd name="T6" fmla="*/ 324 w 324"/>
                <a:gd name="T7" fmla="*/ 322 h 322"/>
                <a:gd name="T8" fmla="*/ 319 w 324"/>
                <a:gd name="T9" fmla="*/ 313 h 322"/>
                <a:gd name="T10" fmla="*/ 155 w 324"/>
                <a:gd name="T11" fmla="*/ 48 h 322"/>
                <a:gd name="T12" fmla="*/ 11 w 324"/>
                <a:gd name="T13" fmla="*/ 1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322">
                  <a:moveTo>
                    <a:pt x="11" y="11"/>
                  </a:moveTo>
                  <a:cubicBezTo>
                    <a:pt x="0" y="33"/>
                    <a:pt x="4" y="99"/>
                    <a:pt x="47" y="153"/>
                  </a:cubicBezTo>
                  <a:cubicBezTo>
                    <a:pt x="90" y="210"/>
                    <a:pt x="173" y="255"/>
                    <a:pt x="314" y="318"/>
                  </a:cubicBezTo>
                  <a:cubicBezTo>
                    <a:pt x="317" y="319"/>
                    <a:pt x="321" y="321"/>
                    <a:pt x="324" y="322"/>
                  </a:cubicBezTo>
                  <a:cubicBezTo>
                    <a:pt x="322" y="319"/>
                    <a:pt x="321" y="316"/>
                    <a:pt x="319" y="313"/>
                  </a:cubicBezTo>
                  <a:cubicBezTo>
                    <a:pt x="257" y="174"/>
                    <a:pt x="213" y="91"/>
                    <a:pt x="155" y="48"/>
                  </a:cubicBezTo>
                  <a:cubicBezTo>
                    <a:pt x="101" y="5"/>
                    <a:pt x="33" y="0"/>
                    <a:pt x="11" y="11"/>
                  </a:cubicBezTo>
                </a:path>
              </a:pathLst>
            </a:custGeom>
            <a:solidFill>
              <a:srgbClr val="FBB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7" name="Freeform 3337"/>
            <p:cNvSpPr/>
            <p:nvPr userDrawn="1"/>
          </p:nvSpPr>
          <p:spPr bwMode="auto">
            <a:xfrm>
              <a:off x="7680290" y="2301748"/>
              <a:ext cx="1612649" cy="1611192"/>
            </a:xfrm>
            <a:custGeom>
              <a:avLst/>
              <a:gdLst>
                <a:gd name="T0" fmla="*/ 62 w 791"/>
                <a:gd name="T1" fmla="*/ 63 h 792"/>
                <a:gd name="T2" fmla="*/ 62 w 791"/>
                <a:gd name="T3" fmla="*/ 64 h 792"/>
                <a:gd name="T4" fmla="*/ 0 w 791"/>
                <a:gd name="T5" fmla="*/ 167 h 792"/>
                <a:gd name="T6" fmla="*/ 277 w 791"/>
                <a:gd name="T7" fmla="*/ 551 h 792"/>
                <a:gd name="T8" fmla="*/ 515 w 791"/>
                <a:gd name="T9" fmla="*/ 792 h 792"/>
                <a:gd name="T10" fmla="*/ 628 w 791"/>
                <a:gd name="T11" fmla="*/ 629 h 792"/>
                <a:gd name="T12" fmla="*/ 791 w 791"/>
                <a:gd name="T13" fmla="*/ 517 h 792"/>
                <a:gd name="T14" fmla="*/ 549 w 791"/>
                <a:gd name="T15" fmla="*/ 279 h 792"/>
                <a:gd name="T16" fmla="*/ 164 w 791"/>
                <a:gd name="T17" fmla="*/ 0 h 792"/>
                <a:gd name="T18" fmla="*/ 62 w 791"/>
                <a:gd name="T19" fmla="*/ 63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1" h="792">
                  <a:moveTo>
                    <a:pt x="62" y="63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26" y="100"/>
                    <a:pt x="5" y="142"/>
                    <a:pt x="0" y="167"/>
                  </a:cubicBezTo>
                  <a:cubicBezTo>
                    <a:pt x="67" y="297"/>
                    <a:pt x="193" y="441"/>
                    <a:pt x="277" y="551"/>
                  </a:cubicBezTo>
                  <a:cubicBezTo>
                    <a:pt x="336" y="629"/>
                    <a:pt x="403" y="692"/>
                    <a:pt x="515" y="792"/>
                  </a:cubicBezTo>
                  <a:cubicBezTo>
                    <a:pt x="529" y="760"/>
                    <a:pt x="564" y="692"/>
                    <a:pt x="628" y="629"/>
                  </a:cubicBezTo>
                  <a:cubicBezTo>
                    <a:pt x="691" y="566"/>
                    <a:pt x="758" y="530"/>
                    <a:pt x="791" y="517"/>
                  </a:cubicBezTo>
                  <a:cubicBezTo>
                    <a:pt x="690" y="404"/>
                    <a:pt x="628" y="337"/>
                    <a:pt x="549" y="279"/>
                  </a:cubicBezTo>
                  <a:cubicBezTo>
                    <a:pt x="440" y="194"/>
                    <a:pt x="295" y="67"/>
                    <a:pt x="164" y="0"/>
                  </a:cubicBezTo>
                  <a:cubicBezTo>
                    <a:pt x="140" y="5"/>
                    <a:pt x="98" y="27"/>
                    <a:pt x="62" y="63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8" name="Freeform 3338"/>
            <p:cNvSpPr/>
            <p:nvPr userDrawn="1"/>
          </p:nvSpPr>
          <p:spPr bwMode="auto">
            <a:xfrm>
              <a:off x="7489281" y="2112196"/>
              <a:ext cx="524913" cy="526372"/>
            </a:xfrm>
            <a:custGeom>
              <a:avLst/>
              <a:gdLst>
                <a:gd name="T0" fmla="*/ 0 w 258"/>
                <a:gd name="T1" fmla="*/ 0 h 259"/>
                <a:gd name="T2" fmla="*/ 93 w 258"/>
                <a:gd name="T3" fmla="*/ 259 h 259"/>
                <a:gd name="T4" fmla="*/ 156 w 258"/>
                <a:gd name="T5" fmla="*/ 157 h 259"/>
                <a:gd name="T6" fmla="*/ 157 w 258"/>
                <a:gd name="T7" fmla="*/ 156 h 259"/>
                <a:gd name="T8" fmla="*/ 258 w 258"/>
                <a:gd name="T9" fmla="*/ 93 h 259"/>
                <a:gd name="T10" fmla="*/ 0 w 258"/>
                <a:gd name="T1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259">
                  <a:moveTo>
                    <a:pt x="0" y="0"/>
                  </a:moveTo>
                  <a:cubicBezTo>
                    <a:pt x="4" y="22"/>
                    <a:pt x="10" y="98"/>
                    <a:pt x="93" y="259"/>
                  </a:cubicBezTo>
                  <a:cubicBezTo>
                    <a:pt x="99" y="235"/>
                    <a:pt x="120" y="193"/>
                    <a:pt x="156" y="157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92" y="120"/>
                    <a:pt x="234" y="98"/>
                    <a:pt x="258" y="93"/>
                  </a:cubicBezTo>
                  <a:cubicBezTo>
                    <a:pt x="98" y="9"/>
                    <a:pt x="22" y="4"/>
                    <a:pt x="0" y="0"/>
                  </a:cubicBezTo>
                </a:path>
              </a:pathLst>
            </a:custGeom>
            <a:solidFill>
              <a:srgbClr val="FA4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9" name="Freeform 3339"/>
            <p:cNvSpPr/>
            <p:nvPr userDrawn="1"/>
          </p:nvSpPr>
          <p:spPr bwMode="auto">
            <a:xfrm>
              <a:off x="8730116" y="3353032"/>
              <a:ext cx="635728" cy="635728"/>
            </a:xfrm>
            <a:custGeom>
              <a:avLst/>
              <a:gdLst>
                <a:gd name="T0" fmla="*/ 0 w 312"/>
                <a:gd name="T1" fmla="*/ 275 h 312"/>
                <a:gd name="T2" fmla="*/ 9 w 312"/>
                <a:gd name="T3" fmla="*/ 283 h 312"/>
                <a:gd name="T4" fmla="*/ 41 w 312"/>
                <a:gd name="T5" fmla="*/ 312 h 312"/>
                <a:gd name="T6" fmla="*/ 147 w 312"/>
                <a:gd name="T7" fmla="*/ 149 h 312"/>
                <a:gd name="T8" fmla="*/ 148 w 312"/>
                <a:gd name="T9" fmla="*/ 147 h 312"/>
                <a:gd name="T10" fmla="*/ 312 w 312"/>
                <a:gd name="T11" fmla="*/ 40 h 312"/>
                <a:gd name="T12" fmla="*/ 283 w 312"/>
                <a:gd name="T13" fmla="*/ 8 h 312"/>
                <a:gd name="T14" fmla="*/ 276 w 312"/>
                <a:gd name="T15" fmla="*/ 0 h 312"/>
                <a:gd name="T16" fmla="*/ 113 w 312"/>
                <a:gd name="T17" fmla="*/ 112 h 312"/>
                <a:gd name="T18" fmla="*/ 0 w 312"/>
                <a:gd name="T19" fmla="*/ 27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2" h="312">
                  <a:moveTo>
                    <a:pt x="0" y="275"/>
                  </a:moveTo>
                  <a:cubicBezTo>
                    <a:pt x="3" y="278"/>
                    <a:pt x="6" y="281"/>
                    <a:pt x="9" y="283"/>
                  </a:cubicBezTo>
                  <a:cubicBezTo>
                    <a:pt x="19" y="293"/>
                    <a:pt x="30" y="303"/>
                    <a:pt x="41" y="312"/>
                  </a:cubicBezTo>
                  <a:cubicBezTo>
                    <a:pt x="54" y="272"/>
                    <a:pt x="89" y="207"/>
                    <a:pt x="147" y="149"/>
                  </a:cubicBezTo>
                  <a:cubicBezTo>
                    <a:pt x="147" y="148"/>
                    <a:pt x="148" y="148"/>
                    <a:pt x="148" y="147"/>
                  </a:cubicBezTo>
                  <a:cubicBezTo>
                    <a:pt x="207" y="88"/>
                    <a:pt x="272" y="53"/>
                    <a:pt x="312" y="40"/>
                  </a:cubicBezTo>
                  <a:cubicBezTo>
                    <a:pt x="302" y="29"/>
                    <a:pt x="293" y="18"/>
                    <a:pt x="283" y="8"/>
                  </a:cubicBezTo>
                  <a:cubicBezTo>
                    <a:pt x="281" y="5"/>
                    <a:pt x="278" y="2"/>
                    <a:pt x="276" y="0"/>
                  </a:cubicBezTo>
                  <a:cubicBezTo>
                    <a:pt x="243" y="13"/>
                    <a:pt x="176" y="49"/>
                    <a:pt x="113" y="112"/>
                  </a:cubicBezTo>
                  <a:cubicBezTo>
                    <a:pt x="49" y="175"/>
                    <a:pt x="14" y="243"/>
                    <a:pt x="0" y="275"/>
                  </a:cubicBezTo>
                </a:path>
              </a:pathLst>
            </a:custGeom>
            <a:solidFill>
              <a:srgbClr val="2D3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0" name="Freeform 3340"/>
            <p:cNvSpPr/>
            <p:nvPr userDrawn="1"/>
          </p:nvSpPr>
          <p:spPr bwMode="auto">
            <a:xfrm>
              <a:off x="9292939" y="3353032"/>
              <a:ext cx="13122" cy="16039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2" y="2"/>
                    <a:pt x="5" y="5"/>
                    <a:pt x="7" y="8"/>
                  </a:cubicBezTo>
                  <a:cubicBezTo>
                    <a:pt x="5" y="5"/>
                    <a:pt x="2" y="2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1" name="Freeform 3341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0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2" name="Freeform 3342"/>
            <p:cNvSpPr/>
            <p:nvPr userDrawn="1"/>
          </p:nvSpPr>
          <p:spPr bwMode="auto">
            <a:xfrm>
              <a:off x="9306063" y="3369071"/>
              <a:ext cx="2916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3" name="Freeform 3343"/>
            <p:cNvSpPr/>
            <p:nvPr userDrawn="1"/>
          </p:nvSpPr>
          <p:spPr bwMode="auto">
            <a:xfrm>
              <a:off x="8730116" y="3513423"/>
              <a:ext cx="313489" cy="415557"/>
            </a:xfrm>
            <a:custGeom>
              <a:avLst/>
              <a:gdLst>
                <a:gd name="T0" fmla="*/ 149 w 154"/>
                <a:gd name="T1" fmla="*/ 0 h 204"/>
                <a:gd name="T2" fmla="*/ 113 w 154"/>
                <a:gd name="T3" fmla="*/ 33 h 204"/>
                <a:gd name="T4" fmla="*/ 0 w 154"/>
                <a:gd name="T5" fmla="*/ 196 h 204"/>
                <a:gd name="T6" fmla="*/ 9 w 154"/>
                <a:gd name="T7" fmla="*/ 204 h 204"/>
                <a:gd name="T8" fmla="*/ 9 w 154"/>
                <a:gd name="T9" fmla="*/ 204 h 204"/>
                <a:gd name="T10" fmla="*/ 121 w 154"/>
                <a:gd name="T11" fmla="*/ 41 h 204"/>
                <a:gd name="T12" fmla="*/ 154 w 154"/>
                <a:gd name="T13" fmla="*/ 10 h 204"/>
                <a:gd name="T14" fmla="*/ 149 w 154"/>
                <a:gd name="T1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204">
                  <a:moveTo>
                    <a:pt x="149" y="0"/>
                  </a:moveTo>
                  <a:cubicBezTo>
                    <a:pt x="137" y="10"/>
                    <a:pt x="125" y="21"/>
                    <a:pt x="113" y="33"/>
                  </a:cubicBezTo>
                  <a:cubicBezTo>
                    <a:pt x="49" y="96"/>
                    <a:pt x="14" y="164"/>
                    <a:pt x="0" y="196"/>
                  </a:cubicBezTo>
                  <a:cubicBezTo>
                    <a:pt x="3" y="199"/>
                    <a:pt x="6" y="202"/>
                    <a:pt x="9" y="204"/>
                  </a:cubicBezTo>
                  <a:cubicBezTo>
                    <a:pt x="9" y="204"/>
                    <a:pt x="9" y="204"/>
                    <a:pt x="9" y="204"/>
                  </a:cubicBezTo>
                  <a:cubicBezTo>
                    <a:pt x="22" y="170"/>
                    <a:pt x="58" y="103"/>
                    <a:pt x="121" y="41"/>
                  </a:cubicBezTo>
                  <a:cubicBezTo>
                    <a:pt x="131" y="30"/>
                    <a:pt x="143" y="20"/>
                    <a:pt x="154" y="10"/>
                  </a:cubicBezTo>
                  <a:cubicBezTo>
                    <a:pt x="152" y="7"/>
                    <a:pt x="150" y="3"/>
                    <a:pt x="149" y="0"/>
                  </a:cubicBezTo>
                </a:path>
              </a:pathLst>
            </a:custGeom>
            <a:solidFill>
              <a:srgbClr val="192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4" name="Freeform 3344"/>
            <p:cNvSpPr>
              <a:spLocks noEditPoints="1"/>
            </p:cNvSpPr>
            <p:nvPr userDrawn="1"/>
          </p:nvSpPr>
          <p:spPr bwMode="auto">
            <a:xfrm>
              <a:off x="7489281" y="2112196"/>
              <a:ext cx="487002" cy="169139"/>
            </a:xfrm>
            <a:custGeom>
              <a:avLst/>
              <a:gdLst>
                <a:gd name="T0" fmla="*/ 0 w 239"/>
                <a:gd name="T1" fmla="*/ 0 h 83"/>
                <a:gd name="T2" fmla="*/ 1 w 239"/>
                <a:gd name="T3" fmla="*/ 2 h 83"/>
                <a:gd name="T4" fmla="*/ 1 w 239"/>
                <a:gd name="T5" fmla="*/ 2 h 83"/>
                <a:gd name="T6" fmla="*/ 0 w 239"/>
                <a:gd name="T7" fmla="*/ 0 h 83"/>
                <a:gd name="T8" fmla="*/ 0 w 239"/>
                <a:gd name="T9" fmla="*/ 0 h 83"/>
                <a:gd name="T10" fmla="*/ 0 w 239"/>
                <a:gd name="T11" fmla="*/ 0 h 83"/>
                <a:gd name="T12" fmla="*/ 239 w 239"/>
                <a:gd name="T13" fmla="*/ 83 h 83"/>
                <a:gd name="T14" fmla="*/ 239 w 239"/>
                <a:gd name="T15" fmla="*/ 83 h 83"/>
                <a:gd name="T16" fmla="*/ 0 w 239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83">
                  <a:moveTo>
                    <a:pt x="0" y="0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4"/>
                    <a:pt x="92" y="9"/>
                    <a:pt x="239" y="83"/>
                  </a:cubicBezTo>
                  <a:cubicBezTo>
                    <a:pt x="239" y="83"/>
                    <a:pt x="239" y="83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5" name="Freeform 3345"/>
            <p:cNvSpPr/>
            <p:nvPr userDrawn="1"/>
          </p:nvSpPr>
          <p:spPr bwMode="auto">
            <a:xfrm>
              <a:off x="7489281" y="2112196"/>
              <a:ext cx="487002" cy="204133"/>
            </a:xfrm>
            <a:custGeom>
              <a:avLst/>
              <a:gdLst>
                <a:gd name="T0" fmla="*/ 0 w 239"/>
                <a:gd name="T1" fmla="*/ 0 h 100"/>
                <a:gd name="T2" fmla="*/ 0 w 239"/>
                <a:gd name="T3" fmla="*/ 0 h 100"/>
                <a:gd name="T4" fmla="*/ 1 w 239"/>
                <a:gd name="T5" fmla="*/ 2 h 100"/>
                <a:gd name="T6" fmla="*/ 1 w 239"/>
                <a:gd name="T7" fmla="*/ 2 h 100"/>
                <a:gd name="T8" fmla="*/ 1 w 239"/>
                <a:gd name="T9" fmla="*/ 1 h 100"/>
                <a:gd name="T10" fmla="*/ 3 w 239"/>
                <a:gd name="T11" fmla="*/ 3 h 100"/>
                <a:gd name="T12" fmla="*/ 60 w 239"/>
                <a:gd name="T13" fmla="*/ 29 h 100"/>
                <a:gd name="T14" fmla="*/ 60 w 239"/>
                <a:gd name="T15" fmla="*/ 30 h 100"/>
                <a:gd name="T16" fmla="*/ 201 w 239"/>
                <a:gd name="T17" fmla="*/ 100 h 100"/>
                <a:gd name="T18" fmla="*/ 239 w 239"/>
                <a:gd name="T19" fmla="*/ 83 h 100"/>
                <a:gd name="T20" fmla="*/ 0 w 239"/>
                <a:gd name="T2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0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2"/>
                    <a:pt x="2" y="2"/>
                    <a:pt x="3" y="3"/>
                  </a:cubicBezTo>
                  <a:cubicBezTo>
                    <a:pt x="19" y="11"/>
                    <a:pt x="38" y="19"/>
                    <a:pt x="60" y="29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99" y="47"/>
                    <a:pt x="148" y="71"/>
                    <a:pt x="201" y="100"/>
                  </a:cubicBezTo>
                  <a:cubicBezTo>
                    <a:pt x="215" y="92"/>
                    <a:pt x="229" y="86"/>
                    <a:pt x="239" y="83"/>
                  </a:cubicBezTo>
                  <a:cubicBezTo>
                    <a:pt x="92" y="9"/>
                    <a:pt x="21" y="4"/>
                    <a:pt x="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6" name="Freeform 3346"/>
            <p:cNvSpPr>
              <a:spLocks noEditPoints="1"/>
            </p:cNvSpPr>
            <p:nvPr userDrawn="1"/>
          </p:nvSpPr>
          <p:spPr bwMode="auto">
            <a:xfrm>
              <a:off x="8012735" y="2298832"/>
              <a:ext cx="1280204" cy="1113982"/>
            </a:xfrm>
            <a:custGeom>
              <a:avLst/>
              <a:gdLst>
                <a:gd name="T0" fmla="*/ 628 w 628"/>
                <a:gd name="T1" fmla="*/ 518 h 547"/>
                <a:gd name="T2" fmla="*/ 571 w 628"/>
                <a:gd name="T3" fmla="*/ 547 h 547"/>
                <a:gd name="T4" fmla="*/ 571 w 628"/>
                <a:gd name="T5" fmla="*/ 547 h 547"/>
                <a:gd name="T6" fmla="*/ 628 w 628"/>
                <a:gd name="T7" fmla="*/ 518 h 547"/>
                <a:gd name="T8" fmla="*/ 1 w 628"/>
                <a:gd name="T9" fmla="*/ 1 h 547"/>
                <a:gd name="T10" fmla="*/ 1 w 628"/>
                <a:gd name="T11" fmla="*/ 1 h 547"/>
                <a:gd name="T12" fmla="*/ 206 w 628"/>
                <a:gd name="T13" fmla="*/ 137 h 547"/>
                <a:gd name="T14" fmla="*/ 1 w 628"/>
                <a:gd name="T15" fmla="*/ 1 h 547"/>
                <a:gd name="T16" fmla="*/ 0 w 628"/>
                <a:gd name="T17" fmla="*/ 0 h 547"/>
                <a:gd name="T18" fmla="*/ 0 w 628"/>
                <a:gd name="T19" fmla="*/ 0 h 547"/>
                <a:gd name="T20" fmla="*/ 1 w 628"/>
                <a:gd name="T21" fmla="*/ 1 h 547"/>
                <a:gd name="T22" fmla="*/ 1 w 628"/>
                <a:gd name="T23" fmla="*/ 1 h 547"/>
                <a:gd name="T24" fmla="*/ 0 w 628"/>
                <a:gd name="T25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47">
                  <a:moveTo>
                    <a:pt x="628" y="518"/>
                  </a:moveTo>
                  <a:cubicBezTo>
                    <a:pt x="614" y="523"/>
                    <a:pt x="594" y="533"/>
                    <a:pt x="571" y="547"/>
                  </a:cubicBezTo>
                  <a:cubicBezTo>
                    <a:pt x="571" y="547"/>
                    <a:pt x="571" y="547"/>
                    <a:pt x="571" y="547"/>
                  </a:cubicBezTo>
                  <a:cubicBezTo>
                    <a:pt x="594" y="533"/>
                    <a:pt x="614" y="523"/>
                    <a:pt x="628" y="518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68" y="35"/>
                    <a:pt x="138" y="85"/>
                    <a:pt x="206" y="137"/>
                  </a:cubicBezTo>
                  <a:cubicBezTo>
                    <a:pt x="138" y="85"/>
                    <a:pt x="68" y="35"/>
                    <a:pt x="1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7" name="Freeform 3347"/>
            <p:cNvSpPr/>
            <p:nvPr userDrawn="1"/>
          </p:nvSpPr>
          <p:spPr bwMode="auto">
            <a:xfrm>
              <a:off x="9147130" y="3412814"/>
              <a:ext cx="29162" cy="16039"/>
            </a:xfrm>
            <a:custGeom>
              <a:avLst/>
              <a:gdLst>
                <a:gd name="T0" fmla="*/ 14 w 14"/>
                <a:gd name="T1" fmla="*/ 0 h 8"/>
                <a:gd name="T2" fmla="*/ 0 w 14"/>
                <a:gd name="T3" fmla="*/ 8 h 8"/>
                <a:gd name="T4" fmla="*/ 14 w 14"/>
                <a:gd name="T5" fmla="*/ 0 h 8"/>
                <a:gd name="T6" fmla="*/ 14 w 1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8">
                  <a:moveTo>
                    <a:pt x="14" y="0"/>
                  </a:moveTo>
                  <a:cubicBezTo>
                    <a:pt x="9" y="2"/>
                    <a:pt x="5" y="5"/>
                    <a:pt x="0" y="8"/>
                  </a:cubicBezTo>
                  <a:cubicBezTo>
                    <a:pt x="5" y="5"/>
                    <a:pt x="9" y="3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85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8" name="Freeform 3348"/>
            <p:cNvSpPr/>
            <p:nvPr userDrawn="1"/>
          </p:nvSpPr>
          <p:spPr bwMode="auto">
            <a:xfrm>
              <a:off x="7932541" y="2301748"/>
              <a:ext cx="1360399" cy="1211675"/>
            </a:xfrm>
            <a:custGeom>
              <a:avLst/>
              <a:gdLst>
                <a:gd name="T0" fmla="*/ 40 w 667"/>
                <a:gd name="T1" fmla="*/ 0 h 596"/>
                <a:gd name="T2" fmla="*/ 0 w 667"/>
                <a:gd name="T3" fmla="*/ 16 h 596"/>
                <a:gd name="T4" fmla="*/ 287 w 667"/>
                <a:gd name="T5" fmla="*/ 225 h 596"/>
                <a:gd name="T6" fmla="*/ 540 w 667"/>
                <a:gd name="T7" fmla="*/ 596 h 596"/>
                <a:gd name="T8" fmla="*/ 596 w 667"/>
                <a:gd name="T9" fmla="*/ 554 h 596"/>
                <a:gd name="T10" fmla="*/ 610 w 667"/>
                <a:gd name="T11" fmla="*/ 546 h 596"/>
                <a:gd name="T12" fmla="*/ 667 w 667"/>
                <a:gd name="T13" fmla="*/ 517 h 596"/>
                <a:gd name="T14" fmla="*/ 667 w 667"/>
                <a:gd name="T15" fmla="*/ 517 h 596"/>
                <a:gd name="T16" fmla="*/ 515 w 667"/>
                <a:gd name="T17" fmla="*/ 355 h 596"/>
                <a:gd name="T18" fmla="*/ 484 w 667"/>
                <a:gd name="T19" fmla="*/ 326 h 596"/>
                <a:gd name="T20" fmla="*/ 425 w 667"/>
                <a:gd name="T21" fmla="*/ 279 h 596"/>
                <a:gd name="T22" fmla="*/ 425 w 667"/>
                <a:gd name="T23" fmla="*/ 279 h 596"/>
                <a:gd name="T24" fmla="*/ 245 w 667"/>
                <a:gd name="T25" fmla="*/ 136 h 596"/>
                <a:gd name="T26" fmla="*/ 40 w 667"/>
                <a:gd name="T2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7" h="596">
                  <a:moveTo>
                    <a:pt x="40" y="0"/>
                  </a:moveTo>
                  <a:cubicBezTo>
                    <a:pt x="29" y="2"/>
                    <a:pt x="15" y="8"/>
                    <a:pt x="0" y="16"/>
                  </a:cubicBezTo>
                  <a:cubicBezTo>
                    <a:pt x="95" y="69"/>
                    <a:pt x="201" y="139"/>
                    <a:pt x="287" y="225"/>
                  </a:cubicBezTo>
                  <a:cubicBezTo>
                    <a:pt x="373" y="315"/>
                    <a:pt x="462" y="421"/>
                    <a:pt x="540" y="596"/>
                  </a:cubicBezTo>
                  <a:cubicBezTo>
                    <a:pt x="559" y="579"/>
                    <a:pt x="579" y="566"/>
                    <a:pt x="596" y="554"/>
                  </a:cubicBezTo>
                  <a:cubicBezTo>
                    <a:pt x="601" y="551"/>
                    <a:pt x="605" y="548"/>
                    <a:pt x="610" y="546"/>
                  </a:cubicBezTo>
                  <a:cubicBezTo>
                    <a:pt x="633" y="532"/>
                    <a:pt x="653" y="522"/>
                    <a:pt x="667" y="517"/>
                  </a:cubicBezTo>
                  <a:cubicBezTo>
                    <a:pt x="667" y="517"/>
                    <a:pt x="667" y="517"/>
                    <a:pt x="667" y="517"/>
                  </a:cubicBezTo>
                  <a:cubicBezTo>
                    <a:pt x="606" y="449"/>
                    <a:pt x="559" y="397"/>
                    <a:pt x="515" y="355"/>
                  </a:cubicBezTo>
                  <a:cubicBezTo>
                    <a:pt x="504" y="345"/>
                    <a:pt x="494" y="335"/>
                    <a:pt x="484" y="326"/>
                  </a:cubicBezTo>
                  <a:cubicBezTo>
                    <a:pt x="465" y="309"/>
                    <a:pt x="446" y="294"/>
                    <a:pt x="425" y="279"/>
                  </a:cubicBezTo>
                  <a:cubicBezTo>
                    <a:pt x="425" y="279"/>
                    <a:pt x="425" y="279"/>
                    <a:pt x="425" y="279"/>
                  </a:cubicBezTo>
                  <a:cubicBezTo>
                    <a:pt x="372" y="237"/>
                    <a:pt x="310" y="186"/>
                    <a:pt x="245" y="136"/>
                  </a:cubicBezTo>
                  <a:cubicBezTo>
                    <a:pt x="177" y="84"/>
                    <a:pt x="107" y="34"/>
                    <a:pt x="40" y="0"/>
                  </a:cubicBezTo>
                </a:path>
              </a:pathLst>
            </a:custGeom>
            <a:solidFill>
              <a:srgbClr val="E1E1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9" name="Freeform 3349"/>
            <p:cNvSpPr/>
            <p:nvPr userDrawn="1"/>
          </p:nvSpPr>
          <p:spPr bwMode="auto">
            <a:xfrm>
              <a:off x="7931082" y="2298832"/>
              <a:ext cx="83111" cy="34994"/>
            </a:xfrm>
            <a:custGeom>
              <a:avLst/>
              <a:gdLst>
                <a:gd name="T0" fmla="*/ 40 w 41"/>
                <a:gd name="T1" fmla="*/ 0 h 17"/>
                <a:gd name="T2" fmla="*/ 0 w 41"/>
                <a:gd name="T3" fmla="*/ 17 h 17"/>
                <a:gd name="T4" fmla="*/ 1 w 41"/>
                <a:gd name="T5" fmla="*/ 17 h 17"/>
                <a:gd name="T6" fmla="*/ 41 w 41"/>
                <a:gd name="T7" fmla="*/ 1 h 17"/>
                <a:gd name="T8" fmla="*/ 41 w 41"/>
                <a:gd name="T9" fmla="*/ 1 h 17"/>
                <a:gd name="T10" fmla="*/ 41 w 41"/>
                <a:gd name="T11" fmla="*/ 1 h 17"/>
                <a:gd name="T12" fmla="*/ 41 w 41"/>
                <a:gd name="T13" fmla="*/ 1 h 17"/>
                <a:gd name="T14" fmla="*/ 40 w 41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40" y="0"/>
                  </a:moveTo>
                  <a:cubicBezTo>
                    <a:pt x="29" y="3"/>
                    <a:pt x="15" y="8"/>
                    <a:pt x="0" y="17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16" y="9"/>
                    <a:pt x="30" y="3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0" y="0"/>
                    <a:pt x="40" y="0"/>
                  </a:cubicBezTo>
                </a:path>
              </a:pathLst>
            </a:custGeom>
            <a:solidFill>
              <a:srgbClr val="E142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0" name="Freeform 3350"/>
            <p:cNvSpPr/>
            <p:nvPr userDrawn="1"/>
          </p:nvSpPr>
          <p:spPr bwMode="auto">
            <a:xfrm>
              <a:off x="9314811" y="3409898"/>
              <a:ext cx="51033" cy="43743"/>
            </a:xfrm>
            <a:custGeom>
              <a:avLst/>
              <a:gdLst>
                <a:gd name="T0" fmla="*/ 15 w 25"/>
                <a:gd name="T1" fmla="*/ 0 h 21"/>
                <a:gd name="T2" fmla="*/ 25 w 25"/>
                <a:gd name="T3" fmla="*/ 12 h 21"/>
                <a:gd name="T4" fmla="*/ 0 w 25"/>
                <a:gd name="T5" fmla="*/ 21 h 21"/>
                <a:gd name="T6" fmla="*/ 25 w 25"/>
                <a:gd name="T7" fmla="*/ 12 h 21"/>
                <a:gd name="T8" fmla="*/ 15 w 2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15" y="0"/>
                  </a:moveTo>
                  <a:cubicBezTo>
                    <a:pt x="18" y="4"/>
                    <a:pt x="21" y="8"/>
                    <a:pt x="25" y="12"/>
                  </a:cubicBezTo>
                  <a:cubicBezTo>
                    <a:pt x="17" y="14"/>
                    <a:pt x="9" y="17"/>
                    <a:pt x="0" y="21"/>
                  </a:cubicBezTo>
                  <a:cubicBezTo>
                    <a:pt x="9" y="17"/>
                    <a:pt x="18" y="14"/>
                    <a:pt x="25" y="12"/>
                  </a:cubicBezTo>
                  <a:cubicBezTo>
                    <a:pt x="21" y="8"/>
                    <a:pt x="18" y="4"/>
                    <a:pt x="1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1" name="Freeform 3351"/>
            <p:cNvSpPr/>
            <p:nvPr userDrawn="1"/>
          </p:nvSpPr>
          <p:spPr bwMode="auto">
            <a:xfrm>
              <a:off x="9043606" y="3369071"/>
              <a:ext cx="322238" cy="242043"/>
            </a:xfrm>
            <a:custGeom>
              <a:avLst/>
              <a:gdLst>
                <a:gd name="T0" fmla="*/ 130 w 158"/>
                <a:gd name="T1" fmla="*/ 0 h 119"/>
                <a:gd name="T2" fmla="*/ 0 w 158"/>
                <a:gd name="T3" fmla="*/ 81 h 119"/>
                <a:gd name="T4" fmla="*/ 12 w 158"/>
                <a:gd name="T5" fmla="*/ 110 h 119"/>
                <a:gd name="T6" fmla="*/ 12 w 158"/>
                <a:gd name="T7" fmla="*/ 110 h 119"/>
                <a:gd name="T8" fmla="*/ 15 w 158"/>
                <a:gd name="T9" fmla="*/ 119 h 119"/>
                <a:gd name="T10" fmla="*/ 133 w 158"/>
                <a:gd name="T11" fmla="*/ 41 h 119"/>
                <a:gd name="T12" fmla="*/ 158 w 158"/>
                <a:gd name="T13" fmla="*/ 32 h 119"/>
                <a:gd name="T14" fmla="*/ 148 w 158"/>
                <a:gd name="T15" fmla="*/ 20 h 119"/>
                <a:gd name="T16" fmla="*/ 130 w 158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19">
                  <a:moveTo>
                    <a:pt x="130" y="0"/>
                  </a:moveTo>
                  <a:cubicBezTo>
                    <a:pt x="102" y="11"/>
                    <a:pt x="51" y="37"/>
                    <a:pt x="0" y="81"/>
                  </a:cubicBezTo>
                  <a:cubicBezTo>
                    <a:pt x="4" y="91"/>
                    <a:pt x="8" y="10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3"/>
                    <a:pt x="14" y="116"/>
                    <a:pt x="15" y="119"/>
                  </a:cubicBezTo>
                  <a:cubicBezTo>
                    <a:pt x="56" y="81"/>
                    <a:pt x="99" y="56"/>
                    <a:pt x="133" y="41"/>
                  </a:cubicBezTo>
                  <a:cubicBezTo>
                    <a:pt x="142" y="37"/>
                    <a:pt x="150" y="34"/>
                    <a:pt x="158" y="32"/>
                  </a:cubicBezTo>
                  <a:cubicBezTo>
                    <a:pt x="154" y="28"/>
                    <a:pt x="151" y="24"/>
                    <a:pt x="148" y="20"/>
                  </a:cubicBezTo>
                  <a:cubicBezTo>
                    <a:pt x="142" y="13"/>
                    <a:pt x="136" y="7"/>
                    <a:pt x="130" y="0"/>
                  </a:cubicBezTo>
                </a:path>
              </a:pathLst>
            </a:custGeom>
            <a:solidFill>
              <a:srgbClr val="2836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2" name="Freeform 3352"/>
            <p:cNvSpPr/>
            <p:nvPr userDrawn="1"/>
          </p:nvSpPr>
          <p:spPr bwMode="auto">
            <a:xfrm>
              <a:off x="9033399" y="3353032"/>
              <a:ext cx="275579" cy="180803"/>
            </a:xfrm>
            <a:custGeom>
              <a:avLst/>
              <a:gdLst>
                <a:gd name="T0" fmla="*/ 127 w 135"/>
                <a:gd name="T1" fmla="*/ 0 h 89"/>
                <a:gd name="T2" fmla="*/ 127 w 135"/>
                <a:gd name="T3" fmla="*/ 0 h 89"/>
                <a:gd name="T4" fmla="*/ 127 w 135"/>
                <a:gd name="T5" fmla="*/ 0 h 89"/>
                <a:gd name="T6" fmla="*/ 56 w 135"/>
                <a:gd name="T7" fmla="*/ 37 h 89"/>
                <a:gd name="T8" fmla="*/ 0 w 135"/>
                <a:gd name="T9" fmla="*/ 79 h 89"/>
                <a:gd name="T10" fmla="*/ 5 w 135"/>
                <a:gd name="T11" fmla="*/ 89 h 89"/>
                <a:gd name="T12" fmla="*/ 135 w 135"/>
                <a:gd name="T13" fmla="*/ 8 h 89"/>
                <a:gd name="T14" fmla="*/ 134 w 135"/>
                <a:gd name="T15" fmla="*/ 8 h 89"/>
                <a:gd name="T16" fmla="*/ 134 w 135"/>
                <a:gd name="T17" fmla="*/ 8 h 89"/>
                <a:gd name="T18" fmla="*/ 134 w 135"/>
                <a:gd name="T19" fmla="*/ 8 h 89"/>
                <a:gd name="T20" fmla="*/ 127 w 135"/>
                <a:gd name="T21" fmla="*/ 0 h 89"/>
                <a:gd name="T22" fmla="*/ 127 w 13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" h="89"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10" y="6"/>
                    <a:pt x="85" y="19"/>
                    <a:pt x="56" y="37"/>
                  </a:cubicBezTo>
                  <a:cubicBezTo>
                    <a:pt x="39" y="49"/>
                    <a:pt x="19" y="62"/>
                    <a:pt x="0" y="79"/>
                  </a:cubicBezTo>
                  <a:cubicBezTo>
                    <a:pt x="1" y="82"/>
                    <a:pt x="3" y="86"/>
                    <a:pt x="5" y="89"/>
                  </a:cubicBezTo>
                  <a:cubicBezTo>
                    <a:pt x="56" y="45"/>
                    <a:pt x="107" y="19"/>
                    <a:pt x="135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32" y="5"/>
                    <a:pt x="129" y="2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16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3" name="Freeform 3353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1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1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7" y="3"/>
                    <a:pt x="1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4" name="Freeform 3354"/>
            <p:cNvSpPr/>
            <p:nvPr userDrawn="1"/>
          </p:nvSpPr>
          <p:spPr bwMode="auto">
            <a:xfrm>
              <a:off x="7751737" y="2316329"/>
              <a:ext cx="179345" cy="154558"/>
            </a:xfrm>
            <a:custGeom>
              <a:avLst/>
              <a:gdLst>
                <a:gd name="T0" fmla="*/ 72 w 88"/>
                <a:gd name="T1" fmla="*/ 0 h 76"/>
                <a:gd name="T2" fmla="*/ 15 w 88"/>
                <a:gd name="T3" fmla="*/ 44 h 76"/>
                <a:gd name="T4" fmla="*/ 15 w 88"/>
                <a:gd name="T5" fmla="*/ 45 h 76"/>
                <a:gd name="T6" fmla="*/ 0 w 88"/>
                <a:gd name="T7" fmla="*/ 61 h 76"/>
                <a:gd name="T8" fmla="*/ 8 w 88"/>
                <a:gd name="T9" fmla="*/ 76 h 76"/>
                <a:gd name="T10" fmla="*/ 26 w 88"/>
                <a:gd name="T11" fmla="*/ 56 h 76"/>
                <a:gd name="T12" fmla="*/ 27 w 88"/>
                <a:gd name="T13" fmla="*/ 55 h 76"/>
                <a:gd name="T14" fmla="*/ 88 w 88"/>
                <a:gd name="T15" fmla="*/ 9 h 76"/>
                <a:gd name="T16" fmla="*/ 72 w 88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76">
                  <a:moveTo>
                    <a:pt x="72" y="0"/>
                  </a:moveTo>
                  <a:cubicBezTo>
                    <a:pt x="54" y="10"/>
                    <a:pt x="34" y="25"/>
                    <a:pt x="15" y="4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9" y="50"/>
                    <a:pt x="4" y="55"/>
                    <a:pt x="0" y="61"/>
                  </a:cubicBezTo>
                  <a:cubicBezTo>
                    <a:pt x="3" y="66"/>
                    <a:pt x="5" y="71"/>
                    <a:pt x="8" y="76"/>
                  </a:cubicBezTo>
                  <a:cubicBezTo>
                    <a:pt x="14" y="69"/>
                    <a:pt x="20" y="62"/>
                    <a:pt x="26" y="56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7" y="35"/>
                    <a:pt x="68" y="19"/>
                    <a:pt x="88" y="9"/>
                  </a:cubicBezTo>
                  <a:cubicBezTo>
                    <a:pt x="82" y="6"/>
                    <a:pt x="77" y="3"/>
                    <a:pt x="72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5" name="Freeform 3355"/>
            <p:cNvSpPr/>
            <p:nvPr userDrawn="1"/>
          </p:nvSpPr>
          <p:spPr bwMode="auto">
            <a:xfrm>
              <a:off x="7976283" y="2281335"/>
              <a:ext cx="36452" cy="17497"/>
            </a:xfrm>
            <a:custGeom>
              <a:avLst/>
              <a:gdLst>
                <a:gd name="T0" fmla="*/ 0 w 18"/>
                <a:gd name="T1" fmla="*/ 0 h 9"/>
                <a:gd name="T2" fmla="*/ 0 w 18"/>
                <a:gd name="T3" fmla="*/ 0 h 9"/>
                <a:gd name="T4" fmla="*/ 18 w 18"/>
                <a:gd name="T5" fmla="*/ 9 h 9"/>
                <a:gd name="T6" fmla="*/ 18 w 18"/>
                <a:gd name="T7" fmla="*/ 9 h 9"/>
                <a:gd name="T8" fmla="*/ 0 w 1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12" y="6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2" y="6"/>
                    <a:pt x="6" y="3"/>
                    <a:pt x="0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6" name="Freeform 3356"/>
            <p:cNvSpPr/>
            <p:nvPr userDrawn="1"/>
          </p:nvSpPr>
          <p:spPr bwMode="auto">
            <a:xfrm>
              <a:off x="7899004" y="2281335"/>
              <a:ext cx="113731" cy="52491"/>
            </a:xfrm>
            <a:custGeom>
              <a:avLst/>
              <a:gdLst>
                <a:gd name="T0" fmla="*/ 38 w 56"/>
                <a:gd name="T1" fmla="*/ 0 h 26"/>
                <a:gd name="T2" fmla="*/ 0 w 56"/>
                <a:gd name="T3" fmla="*/ 17 h 26"/>
                <a:gd name="T4" fmla="*/ 16 w 56"/>
                <a:gd name="T5" fmla="*/ 26 h 26"/>
                <a:gd name="T6" fmla="*/ 56 w 56"/>
                <a:gd name="T7" fmla="*/ 9 h 26"/>
                <a:gd name="T8" fmla="*/ 38 w 56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6">
                  <a:moveTo>
                    <a:pt x="38" y="0"/>
                  </a:moveTo>
                  <a:cubicBezTo>
                    <a:pt x="28" y="3"/>
                    <a:pt x="14" y="9"/>
                    <a:pt x="0" y="17"/>
                  </a:cubicBezTo>
                  <a:cubicBezTo>
                    <a:pt x="5" y="20"/>
                    <a:pt x="10" y="23"/>
                    <a:pt x="16" y="26"/>
                  </a:cubicBezTo>
                  <a:cubicBezTo>
                    <a:pt x="31" y="17"/>
                    <a:pt x="45" y="12"/>
                    <a:pt x="56" y="9"/>
                  </a:cubicBezTo>
                  <a:cubicBezTo>
                    <a:pt x="50" y="6"/>
                    <a:pt x="44" y="3"/>
                    <a:pt x="38" y="0"/>
                  </a:cubicBezTo>
                </a:path>
              </a:pathLst>
            </a:custGeom>
            <a:solidFill>
              <a:srgbClr val="B43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7" name="Freeform 3357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8" name="Freeform 3358"/>
            <p:cNvSpPr/>
            <p:nvPr userDrawn="1"/>
          </p:nvSpPr>
          <p:spPr bwMode="auto">
            <a:xfrm>
              <a:off x="7658420" y="2600657"/>
              <a:ext cx="20413" cy="36453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0 h 18"/>
                <a:gd name="T4" fmla="*/ 10 w 10"/>
                <a:gd name="T5" fmla="*/ 18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6" y="12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6" y="12"/>
                    <a:pt x="3" y="6"/>
                    <a:pt x="0" y="0"/>
                  </a:cubicBezTo>
                </a:path>
              </a:pathLst>
            </a:custGeom>
            <a:solidFill>
              <a:srgbClr val="C83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9" name="Freeform 3359"/>
            <p:cNvSpPr/>
            <p:nvPr userDrawn="1"/>
          </p:nvSpPr>
          <p:spPr bwMode="auto">
            <a:xfrm>
              <a:off x="7680290" y="2472345"/>
              <a:ext cx="438885" cy="788828"/>
            </a:xfrm>
            <a:custGeom>
              <a:avLst/>
              <a:gdLst>
                <a:gd name="T0" fmla="*/ 215 w 215"/>
                <a:gd name="T1" fmla="*/ 388 h 388"/>
                <a:gd name="T2" fmla="*/ 44 w 215"/>
                <a:gd name="T3" fmla="*/ 0 h 388"/>
                <a:gd name="T4" fmla="*/ 0 w 215"/>
                <a:gd name="T5" fmla="*/ 83 h 388"/>
                <a:gd name="T6" fmla="*/ 215 w 215"/>
                <a:gd name="T7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5" h="388">
                  <a:moveTo>
                    <a:pt x="215" y="388"/>
                  </a:moveTo>
                  <a:cubicBezTo>
                    <a:pt x="112" y="256"/>
                    <a:pt x="108" y="105"/>
                    <a:pt x="44" y="0"/>
                  </a:cubicBezTo>
                  <a:cubicBezTo>
                    <a:pt x="18" y="31"/>
                    <a:pt x="4" y="62"/>
                    <a:pt x="0" y="83"/>
                  </a:cubicBezTo>
                  <a:cubicBezTo>
                    <a:pt x="52" y="184"/>
                    <a:pt x="139" y="293"/>
                    <a:pt x="215" y="3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0" name="Freeform 3360"/>
            <p:cNvSpPr/>
            <p:nvPr userDrawn="1"/>
          </p:nvSpPr>
          <p:spPr bwMode="auto">
            <a:xfrm>
              <a:off x="7490739" y="2116571"/>
              <a:ext cx="260998" cy="484086"/>
            </a:xfrm>
            <a:custGeom>
              <a:avLst/>
              <a:gdLst>
                <a:gd name="T0" fmla="*/ 0 w 128"/>
                <a:gd name="T1" fmla="*/ 0 h 238"/>
                <a:gd name="T2" fmla="*/ 82 w 128"/>
                <a:gd name="T3" fmla="*/ 238 h 238"/>
                <a:gd name="T4" fmla="*/ 128 w 128"/>
                <a:gd name="T5" fmla="*/ 159 h 238"/>
                <a:gd name="T6" fmla="*/ 10 w 128"/>
                <a:gd name="T7" fmla="*/ 9 h 238"/>
                <a:gd name="T8" fmla="*/ 2 w 128"/>
                <a:gd name="T9" fmla="*/ 1 h 238"/>
                <a:gd name="T10" fmla="*/ 0 w 128"/>
                <a:gd name="T1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238">
                  <a:moveTo>
                    <a:pt x="0" y="0"/>
                  </a:moveTo>
                  <a:cubicBezTo>
                    <a:pt x="4" y="23"/>
                    <a:pt x="10" y="94"/>
                    <a:pt x="82" y="238"/>
                  </a:cubicBezTo>
                  <a:cubicBezTo>
                    <a:pt x="88" y="217"/>
                    <a:pt x="103" y="187"/>
                    <a:pt x="128" y="159"/>
                  </a:cubicBezTo>
                  <a:cubicBezTo>
                    <a:pt x="97" y="105"/>
                    <a:pt x="57" y="56"/>
                    <a:pt x="10" y="9"/>
                  </a:cubicBezTo>
                  <a:cubicBezTo>
                    <a:pt x="7" y="6"/>
                    <a:pt x="4" y="4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1" name="Freeform 3361"/>
            <p:cNvSpPr/>
            <p:nvPr userDrawn="1"/>
          </p:nvSpPr>
          <p:spPr bwMode="auto">
            <a:xfrm>
              <a:off x="7490739" y="2113655"/>
              <a:ext cx="4374" cy="43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solidFill>
              <a:srgbClr val="E55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2" name="Freeform 3362"/>
            <p:cNvSpPr/>
            <p:nvPr userDrawn="1"/>
          </p:nvSpPr>
          <p:spPr bwMode="auto">
            <a:xfrm>
              <a:off x="7680290" y="2596282"/>
              <a:ext cx="13122" cy="39369"/>
            </a:xfrm>
            <a:custGeom>
              <a:avLst/>
              <a:gdLst>
                <a:gd name="T0" fmla="*/ 6 w 6"/>
                <a:gd name="T1" fmla="*/ 0 h 19"/>
                <a:gd name="T2" fmla="*/ 0 w 6"/>
                <a:gd name="T3" fmla="*/ 19 h 19"/>
                <a:gd name="T4" fmla="*/ 6 w 6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6" y="0"/>
                  </a:moveTo>
                  <a:cubicBezTo>
                    <a:pt x="3" y="7"/>
                    <a:pt x="1" y="14"/>
                    <a:pt x="0" y="19"/>
                  </a:cubicBezTo>
                  <a:cubicBezTo>
                    <a:pt x="1" y="14"/>
                    <a:pt x="3" y="7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3" name="Freeform 3363"/>
            <p:cNvSpPr/>
            <p:nvPr userDrawn="1"/>
          </p:nvSpPr>
          <p:spPr bwMode="auto">
            <a:xfrm>
              <a:off x="7678833" y="2470887"/>
              <a:ext cx="91859" cy="167681"/>
            </a:xfrm>
            <a:custGeom>
              <a:avLst/>
              <a:gdLst>
                <a:gd name="T0" fmla="*/ 44 w 45"/>
                <a:gd name="T1" fmla="*/ 0 h 83"/>
                <a:gd name="T2" fmla="*/ 0 w 45"/>
                <a:gd name="T3" fmla="*/ 82 h 83"/>
                <a:gd name="T4" fmla="*/ 0 w 45"/>
                <a:gd name="T5" fmla="*/ 83 h 83"/>
                <a:gd name="T6" fmla="*/ 1 w 45"/>
                <a:gd name="T7" fmla="*/ 81 h 83"/>
                <a:gd name="T8" fmla="*/ 7 w 45"/>
                <a:gd name="T9" fmla="*/ 62 h 83"/>
                <a:gd name="T10" fmla="*/ 45 w 45"/>
                <a:gd name="T11" fmla="*/ 1 h 83"/>
                <a:gd name="T12" fmla="*/ 44 w 45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83">
                  <a:moveTo>
                    <a:pt x="44" y="0"/>
                  </a:moveTo>
                  <a:cubicBezTo>
                    <a:pt x="19" y="30"/>
                    <a:pt x="4" y="62"/>
                    <a:pt x="0" y="82"/>
                  </a:cubicBezTo>
                  <a:cubicBezTo>
                    <a:pt x="0" y="82"/>
                    <a:pt x="0" y="83"/>
                    <a:pt x="0" y="83"/>
                  </a:cubicBezTo>
                  <a:cubicBezTo>
                    <a:pt x="1" y="83"/>
                    <a:pt x="1" y="82"/>
                    <a:pt x="1" y="81"/>
                  </a:cubicBezTo>
                  <a:cubicBezTo>
                    <a:pt x="2" y="76"/>
                    <a:pt x="4" y="69"/>
                    <a:pt x="7" y="62"/>
                  </a:cubicBezTo>
                  <a:cubicBezTo>
                    <a:pt x="15" y="44"/>
                    <a:pt x="27" y="22"/>
                    <a:pt x="45" y="1"/>
                  </a:cubicBezTo>
                  <a:cubicBezTo>
                    <a:pt x="45" y="0"/>
                    <a:pt x="44" y="0"/>
                    <a:pt x="44" y="0"/>
                  </a:cubicBezTo>
                </a:path>
              </a:pathLst>
            </a:custGeom>
            <a:solidFill>
              <a:srgbClr val="FB65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4" name="Freeform 3364"/>
            <p:cNvSpPr/>
            <p:nvPr userDrawn="1"/>
          </p:nvSpPr>
          <p:spPr bwMode="auto">
            <a:xfrm>
              <a:off x="7658420" y="2440267"/>
              <a:ext cx="109356" cy="196843"/>
            </a:xfrm>
            <a:custGeom>
              <a:avLst/>
              <a:gdLst>
                <a:gd name="T0" fmla="*/ 46 w 54"/>
                <a:gd name="T1" fmla="*/ 0 h 97"/>
                <a:gd name="T2" fmla="*/ 0 w 54"/>
                <a:gd name="T3" fmla="*/ 79 h 97"/>
                <a:gd name="T4" fmla="*/ 10 w 54"/>
                <a:gd name="T5" fmla="*/ 97 h 97"/>
                <a:gd name="T6" fmla="*/ 54 w 54"/>
                <a:gd name="T7" fmla="*/ 15 h 97"/>
                <a:gd name="T8" fmla="*/ 46 w 5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7">
                  <a:moveTo>
                    <a:pt x="46" y="0"/>
                  </a:moveTo>
                  <a:cubicBezTo>
                    <a:pt x="21" y="28"/>
                    <a:pt x="6" y="58"/>
                    <a:pt x="0" y="79"/>
                  </a:cubicBezTo>
                  <a:cubicBezTo>
                    <a:pt x="3" y="85"/>
                    <a:pt x="6" y="91"/>
                    <a:pt x="10" y="97"/>
                  </a:cubicBezTo>
                  <a:cubicBezTo>
                    <a:pt x="14" y="77"/>
                    <a:pt x="29" y="45"/>
                    <a:pt x="54" y="15"/>
                  </a:cubicBezTo>
                  <a:cubicBezTo>
                    <a:pt x="51" y="10"/>
                    <a:pt x="49" y="5"/>
                    <a:pt x="46" y="0"/>
                  </a:cubicBezTo>
                </a:path>
              </a:pathLst>
            </a:custGeom>
            <a:solidFill>
              <a:srgbClr val="D05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5" name="Freeform 3365"/>
            <p:cNvSpPr/>
            <p:nvPr userDrawn="1"/>
          </p:nvSpPr>
          <p:spPr bwMode="auto">
            <a:xfrm>
              <a:off x="8219784" y="2873320"/>
              <a:ext cx="260998" cy="259540"/>
            </a:xfrm>
            <a:custGeom>
              <a:avLst/>
              <a:gdLst>
                <a:gd name="T0" fmla="*/ 23 w 128"/>
                <a:gd name="T1" fmla="*/ 23 h 128"/>
                <a:gd name="T2" fmla="*/ 23 w 128"/>
                <a:gd name="T3" fmla="*/ 105 h 128"/>
                <a:gd name="T4" fmla="*/ 105 w 128"/>
                <a:gd name="T5" fmla="*/ 105 h 128"/>
                <a:gd name="T6" fmla="*/ 105 w 128"/>
                <a:gd name="T7" fmla="*/ 23 h 128"/>
                <a:gd name="T8" fmla="*/ 23 w 128"/>
                <a:gd name="T9" fmla="*/ 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8">
                  <a:moveTo>
                    <a:pt x="23" y="23"/>
                  </a:moveTo>
                  <a:cubicBezTo>
                    <a:pt x="0" y="46"/>
                    <a:pt x="0" y="82"/>
                    <a:pt x="23" y="105"/>
                  </a:cubicBezTo>
                  <a:cubicBezTo>
                    <a:pt x="45" y="128"/>
                    <a:pt x="82" y="128"/>
                    <a:pt x="105" y="105"/>
                  </a:cubicBezTo>
                  <a:cubicBezTo>
                    <a:pt x="128" y="82"/>
                    <a:pt x="128" y="46"/>
                    <a:pt x="105" y="23"/>
                  </a:cubicBezTo>
                  <a:cubicBezTo>
                    <a:pt x="82" y="0"/>
                    <a:pt x="45" y="0"/>
                    <a:pt x="2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6" name="Freeform 3366"/>
            <p:cNvSpPr/>
            <p:nvPr userDrawn="1"/>
          </p:nvSpPr>
          <p:spPr bwMode="auto">
            <a:xfrm>
              <a:off x="8206662" y="2842700"/>
              <a:ext cx="317864" cy="320780"/>
            </a:xfrm>
            <a:custGeom>
              <a:avLst/>
              <a:gdLst>
                <a:gd name="T0" fmla="*/ 27 w 156"/>
                <a:gd name="T1" fmla="*/ 28 h 158"/>
                <a:gd name="T2" fmla="*/ 27 w 156"/>
                <a:gd name="T3" fmla="*/ 130 h 158"/>
                <a:gd name="T4" fmla="*/ 129 w 156"/>
                <a:gd name="T5" fmla="*/ 130 h 158"/>
                <a:gd name="T6" fmla="*/ 129 w 156"/>
                <a:gd name="T7" fmla="*/ 28 h 158"/>
                <a:gd name="T8" fmla="*/ 27 w 156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8">
                  <a:moveTo>
                    <a:pt x="27" y="28"/>
                  </a:moveTo>
                  <a:cubicBezTo>
                    <a:pt x="0" y="56"/>
                    <a:pt x="0" y="102"/>
                    <a:pt x="27" y="130"/>
                  </a:cubicBezTo>
                  <a:cubicBezTo>
                    <a:pt x="55" y="158"/>
                    <a:pt x="101" y="158"/>
                    <a:pt x="129" y="130"/>
                  </a:cubicBezTo>
                  <a:cubicBezTo>
                    <a:pt x="156" y="102"/>
                    <a:pt x="156" y="56"/>
                    <a:pt x="129" y="28"/>
                  </a:cubicBezTo>
                  <a:cubicBezTo>
                    <a:pt x="101" y="0"/>
                    <a:pt x="55" y="0"/>
                    <a:pt x="27" y="28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7" name="Freeform 3367"/>
            <p:cNvSpPr/>
            <p:nvPr userDrawn="1"/>
          </p:nvSpPr>
          <p:spPr bwMode="auto">
            <a:xfrm>
              <a:off x="8190622" y="2842700"/>
              <a:ext cx="319322" cy="320780"/>
            </a:xfrm>
            <a:custGeom>
              <a:avLst/>
              <a:gdLst>
                <a:gd name="T0" fmla="*/ 28 w 157"/>
                <a:gd name="T1" fmla="*/ 28 h 158"/>
                <a:gd name="T2" fmla="*/ 28 w 157"/>
                <a:gd name="T3" fmla="*/ 130 h 158"/>
                <a:gd name="T4" fmla="*/ 129 w 157"/>
                <a:gd name="T5" fmla="*/ 130 h 158"/>
                <a:gd name="T6" fmla="*/ 129 w 157"/>
                <a:gd name="T7" fmla="*/ 28 h 158"/>
                <a:gd name="T8" fmla="*/ 28 w 157"/>
                <a:gd name="T9" fmla="*/ 2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8">
                  <a:moveTo>
                    <a:pt x="28" y="28"/>
                  </a:moveTo>
                  <a:cubicBezTo>
                    <a:pt x="0" y="56"/>
                    <a:pt x="0" y="102"/>
                    <a:pt x="28" y="130"/>
                  </a:cubicBezTo>
                  <a:cubicBezTo>
                    <a:pt x="56" y="158"/>
                    <a:pt x="101" y="158"/>
                    <a:pt x="129" y="130"/>
                  </a:cubicBezTo>
                  <a:cubicBezTo>
                    <a:pt x="157" y="102"/>
                    <a:pt x="157" y="56"/>
                    <a:pt x="129" y="28"/>
                  </a:cubicBezTo>
                  <a:cubicBezTo>
                    <a:pt x="101" y="0"/>
                    <a:pt x="56" y="0"/>
                    <a:pt x="28" y="28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8" name="Freeform 3368"/>
            <p:cNvSpPr/>
            <p:nvPr userDrawn="1"/>
          </p:nvSpPr>
          <p:spPr bwMode="auto">
            <a:xfrm>
              <a:off x="8359761" y="2884985"/>
              <a:ext cx="13122" cy="236211"/>
            </a:xfrm>
            <a:custGeom>
              <a:avLst/>
              <a:gdLst>
                <a:gd name="T0" fmla="*/ 0 w 7"/>
                <a:gd name="T1" fmla="*/ 116 h 116"/>
                <a:gd name="T2" fmla="*/ 7 w 7"/>
                <a:gd name="T3" fmla="*/ 115 h 116"/>
                <a:gd name="T4" fmla="*/ 7 w 7"/>
                <a:gd name="T5" fmla="*/ 1 h 116"/>
                <a:gd name="T6" fmla="*/ 0 w 7"/>
                <a:gd name="T7" fmla="*/ 0 h 116"/>
                <a:gd name="T8" fmla="*/ 0 w 7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6">
                  <a:moveTo>
                    <a:pt x="0" y="116"/>
                  </a:moveTo>
                  <a:cubicBezTo>
                    <a:pt x="2" y="116"/>
                    <a:pt x="5" y="115"/>
                    <a:pt x="7" y="115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2" y="0"/>
                    <a:pt x="0" y="0"/>
                  </a:cubicBezTo>
                  <a:lnTo>
                    <a:pt x="0" y="11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9" name="Freeform 3369"/>
            <p:cNvSpPr/>
            <p:nvPr userDrawn="1"/>
          </p:nvSpPr>
          <p:spPr bwMode="auto">
            <a:xfrm>
              <a:off x="8219784" y="2895192"/>
              <a:ext cx="84569" cy="215798"/>
            </a:xfrm>
            <a:custGeom>
              <a:avLst/>
              <a:gdLst>
                <a:gd name="T0" fmla="*/ 23 w 41"/>
                <a:gd name="T1" fmla="*/ 94 h 106"/>
                <a:gd name="T2" fmla="*/ 41 w 41"/>
                <a:gd name="T3" fmla="*/ 106 h 106"/>
                <a:gd name="T4" fmla="*/ 41 w 41"/>
                <a:gd name="T5" fmla="*/ 0 h 106"/>
                <a:gd name="T6" fmla="*/ 23 w 41"/>
                <a:gd name="T7" fmla="*/ 12 h 106"/>
                <a:gd name="T8" fmla="*/ 23 w 41"/>
                <a:gd name="T9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23" y="94"/>
                  </a:moveTo>
                  <a:cubicBezTo>
                    <a:pt x="28" y="99"/>
                    <a:pt x="34" y="103"/>
                    <a:pt x="41" y="10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3"/>
                    <a:pt x="28" y="7"/>
                    <a:pt x="23" y="12"/>
                  </a:cubicBezTo>
                  <a:cubicBezTo>
                    <a:pt x="0" y="35"/>
                    <a:pt x="0" y="71"/>
                    <a:pt x="23" y="94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0" name="Freeform 3370"/>
            <p:cNvSpPr/>
            <p:nvPr userDrawn="1"/>
          </p:nvSpPr>
          <p:spPr bwMode="auto">
            <a:xfrm>
              <a:off x="8397671" y="2895192"/>
              <a:ext cx="83111" cy="215798"/>
            </a:xfrm>
            <a:custGeom>
              <a:avLst/>
              <a:gdLst>
                <a:gd name="T0" fmla="*/ 0 w 41"/>
                <a:gd name="T1" fmla="*/ 106 h 106"/>
                <a:gd name="T2" fmla="*/ 18 w 41"/>
                <a:gd name="T3" fmla="*/ 94 h 106"/>
                <a:gd name="T4" fmla="*/ 18 w 41"/>
                <a:gd name="T5" fmla="*/ 12 h 106"/>
                <a:gd name="T6" fmla="*/ 0 w 41"/>
                <a:gd name="T7" fmla="*/ 0 h 106"/>
                <a:gd name="T8" fmla="*/ 0 w 41"/>
                <a:gd name="T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06">
                  <a:moveTo>
                    <a:pt x="0" y="106"/>
                  </a:moveTo>
                  <a:cubicBezTo>
                    <a:pt x="6" y="104"/>
                    <a:pt x="12" y="100"/>
                    <a:pt x="18" y="94"/>
                  </a:cubicBezTo>
                  <a:cubicBezTo>
                    <a:pt x="41" y="71"/>
                    <a:pt x="41" y="35"/>
                    <a:pt x="18" y="12"/>
                  </a:cubicBezTo>
                  <a:cubicBezTo>
                    <a:pt x="12" y="6"/>
                    <a:pt x="6" y="2"/>
                    <a:pt x="0" y="0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1" name="Freeform 3371"/>
            <p:cNvSpPr/>
            <p:nvPr userDrawn="1"/>
          </p:nvSpPr>
          <p:spPr bwMode="auto">
            <a:xfrm>
              <a:off x="8304354" y="2884985"/>
              <a:ext cx="55407" cy="236211"/>
            </a:xfrm>
            <a:custGeom>
              <a:avLst/>
              <a:gdLst>
                <a:gd name="T0" fmla="*/ 0 w 27"/>
                <a:gd name="T1" fmla="*/ 5 h 116"/>
                <a:gd name="T2" fmla="*/ 0 w 27"/>
                <a:gd name="T3" fmla="*/ 111 h 116"/>
                <a:gd name="T4" fmla="*/ 27 w 27"/>
                <a:gd name="T5" fmla="*/ 116 h 116"/>
                <a:gd name="T6" fmla="*/ 27 w 27"/>
                <a:gd name="T7" fmla="*/ 0 h 116"/>
                <a:gd name="T8" fmla="*/ 0 w 27"/>
                <a:gd name="T9" fmla="*/ 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6">
                  <a:moveTo>
                    <a:pt x="0" y="5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8" y="115"/>
                    <a:pt x="17" y="116"/>
                    <a:pt x="27" y="116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8" y="1"/>
                    <a:pt x="0" y="5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2" name="Freeform 3372"/>
            <p:cNvSpPr/>
            <p:nvPr userDrawn="1"/>
          </p:nvSpPr>
          <p:spPr bwMode="auto">
            <a:xfrm>
              <a:off x="8372884" y="2887901"/>
              <a:ext cx="24787" cy="231837"/>
            </a:xfrm>
            <a:custGeom>
              <a:avLst/>
              <a:gdLst>
                <a:gd name="T0" fmla="*/ 0 w 12"/>
                <a:gd name="T1" fmla="*/ 114 h 114"/>
                <a:gd name="T2" fmla="*/ 12 w 12"/>
                <a:gd name="T3" fmla="*/ 110 h 114"/>
                <a:gd name="T4" fmla="*/ 12 w 12"/>
                <a:gd name="T5" fmla="*/ 4 h 114"/>
                <a:gd name="T6" fmla="*/ 0 w 12"/>
                <a:gd name="T7" fmla="*/ 0 h 114"/>
                <a:gd name="T8" fmla="*/ 0 w 12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4">
                  <a:moveTo>
                    <a:pt x="0" y="114"/>
                  </a:moveTo>
                  <a:cubicBezTo>
                    <a:pt x="4" y="113"/>
                    <a:pt x="8" y="112"/>
                    <a:pt x="12" y="11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4" y="1"/>
                    <a:pt x="0" y="0"/>
                  </a:cubicBezTo>
                  <a:lnTo>
                    <a:pt x="0" y="114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3" name="Freeform 3373"/>
            <p:cNvSpPr/>
            <p:nvPr userDrawn="1"/>
          </p:nvSpPr>
          <p:spPr bwMode="auto">
            <a:xfrm>
              <a:off x="8244572" y="2899565"/>
              <a:ext cx="23329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4" name="Freeform 3374"/>
            <p:cNvSpPr/>
            <p:nvPr userDrawn="1"/>
          </p:nvSpPr>
          <p:spPr bwMode="auto">
            <a:xfrm>
              <a:off x="8247488" y="2899565"/>
              <a:ext cx="21871" cy="20413"/>
            </a:xfrm>
            <a:custGeom>
              <a:avLst/>
              <a:gdLst>
                <a:gd name="T0" fmla="*/ 2 w 11"/>
                <a:gd name="T1" fmla="*/ 2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2 h 10"/>
                <a:gd name="T8" fmla="*/ 2 w 11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5" name="Freeform 3375"/>
            <p:cNvSpPr/>
            <p:nvPr userDrawn="1"/>
          </p:nvSpPr>
          <p:spPr bwMode="auto">
            <a:xfrm>
              <a:off x="8437040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9 w 10"/>
                <a:gd name="T5" fmla="*/ 9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9" y="9"/>
                  </a:cubicBezTo>
                  <a:cubicBezTo>
                    <a:pt x="10" y="7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6" name="Freeform 3376"/>
            <p:cNvSpPr/>
            <p:nvPr userDrawn="1"/>
          </p:nvSpPr>
          <p:spPr bwMode="auto">
            <a:xfrm>
              <a:off x="8438498" y="290102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7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7" name="Freeform 3377"/>
            <p:cNvSpPr/>
            <p:nvPr userDrawn="1"/>
          </p:nvSpPr>
          <p:spPr bwMode="auto">
            <a:xfrm>
              <a:off x="8339348" y="2860197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6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8" name="Freeform 3378"/>
            <p:cNvSpPr/>
            <p:nvPr userDrawn="1"/>
          </p:nvSpPr>
          <p:spPr bwMode="auto">
            <a:xfrm>
              <a:off x="8340806" y="2860197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9" name="Freeform 3379"/>
            <p:cNvSpPr/>
            <p:nvPr userDrawn="1"/>
          </p:nvSpPr>
          <p:spPr bwMode="auto">
            <a:xfrm>
              <a:off x="8339348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0" name="Freeform 3380"/>
            <p:cNvSpPr/>
            <p:nvPr userDrawn="1"/>
          </p:nvSpPr>
          <p:spPr bwMode="auto">
            <a:xfrm>
              <a:off x="8340806" y="3122654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1" name="Freeform 3381"/>
            <p:cNvSpPr/>
            <p:nvPr userDrawn="1"/>
          </p:nvSpPr>
          <p:spPr bwMode="auto">
            <a:xfrm>
              <a:off x="8208120" y="2997258"/>
              <a:ext cx="20413" cy="20413"/>
            </a:xfrm>
            <a:custGeom>
              <a:avLst/>
              <a:gdLst>
                <a:gd name="T0" fmla="*/ 1 w 10"/>
                <a:gd name="T1" fmla="*/ 1 h 10"/>
                <a:gd name="T2" fmla="*/ 1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1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" y="1"/>
                  </a:moveTo>
                  <a:cubicBezTo>
                    <a:pt x="0" y="3"/>
                    <a:pt x="0" y="6"/>
                    <a:pt x="1" y="8"/>
                  </a:cubicBezTo>
                  <a:cubicBezTo>
                    <a:pt x="3" y="10"/>
                    <a:pt x="6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6" y="0"/>
                    <a:pt x="3" y="0"/>
                    <a:pt x="1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2" name="Freeform 3382"/>
            <p:cNvSpPr/>
            <p:nvPr userDrawn="1"/>
          </p:nvSpPr>
          <p:spPr bwMode="auto">
            <a:xfrm>
              <a:off x="8208120" y="2997258"/>
              <a:ext cx="21871" cy="20413"/>
            </a:xfrm>
            <a:custGeom>
              <a:avLst/>
              <a:gdLst>
                <a:gd name="T0" fmla="*/ 2 w 11"/>
                <a:gd name="T1" fmla="*/ 1 h 10"/>
                <a:gd name="T2" fmla="*/ 2 w 11"/>
                <a:gd name="T3" fmla="*/ 8 h 10"/>
                <a:gd name="T4" fmla="*/ 9 w 11"/>
                <a:gd name="T5" fmla="*/ 8 h 10"/>
                <a:gd name="T6" fmla="*/ 9 w 11"/>
                <a:gd name="T7" fmla="*/ 1 h 10"/>
                <a:gd name="T8" fmla="*/ 2 w 11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1" y="6"/>
                    <a:pt x="11" y="3"/>
                    <a:pt x="9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3" name="Freeform 3383"/>
            <p:cNvSpPr/>
            <p:nvPr userDrawn="1"/>
          </p:nvSpPr>
          <p:spPr bwMode="auto">
            <a:xfrm>
              <a:off x="8470576" y="2991426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4" name="Freeform 3384"/>
            <p:cNvSpPr/>
            <p:nvPr userDrawn="1"/>
          </p:nvSpPr>
          <p:spPr bwMode="auto">
            <a:xfrm>
              <a:off x="8473492" y="2991426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9 h 10"/>
                <a:gd name="T4" fmla="*/ 8 w 10"/>
                <a:gd name="T5" fmla="*/ 9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0"/>
                    <a:pt x="6" y="10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5" name="Freeform 3385"/>
            <p:cNvSpPr/>
            <p:nvPr userDrawn="1"/>
          </p:nvSpPr>
          <p:spPr bwMode="auto">
            <a:xfrm>
              <a:off x="8248946" y="3090576"/>
              <a:ext cx="20413" cy="20413"/>
            </a:xfrm>
            <a:custGeom>
              <a:avLst/>
              <a:gdLst>
                <a:gd name="T0" fmla="*/ 2 w 10"/>
                <a:gd name="T1" fmla="*/ 1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1 h 10"/>
                <a:gd name="T8" fmla="*/ 2 w 1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1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1"/>
                  </a:cubicBezTo>
                  <a:cubicBezTo>
                    <a:pt x="7" y="0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6" name="Freeform 3386"/>
            <p:cNvSpPr/>
            <p:nvPr userDrawn="1"/>
          </p:nvSpPr>
          <p:spPr bwMode="auto">
            <a:xfrm>
              <a:off x="8250405" y="3089117"/>
              <a:ext cx="20413" cy="21872"/>
            </a:xfrm>
            <a:custGeom>
              <a:avLst/>
              <a:gdLst>
                <a:gd name="T0" fmla="*/ 2 w 10"/>
                <a:gd name="T1" fmla="*/ 2 h 11"/>
                <a:gd name="T2" fmla="*/ 2 w 10"/>
                <a:gd name="T3" fmla="*/ 9 h 11"/>
                <a:gd name="T4" fmla="*/ 8 w 10"/>
                <a:gd name="T5" fmla="*/ 9 h 11"/>
                <a:gd name="T6" fmla="*/ 8 w 10"/>
                <a:gd name="T7" fmla="*/ 2 h 11"/>
                <a:gd name="T8" fmla="*/ 2 w 10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2"/>
                  </a:moveTo>
                  <a:cubicBezTo>
                    <a:pt x="0" y="4"/>
                    <a:pt x="0" y="7"/>
                    <a:pt x="2" y="9"/>
                  </a:cubicBezTo>
                  <a:cubicBezTo>
                    <a:pt x="4" y="11"/>
                    <a:pt x="7" y="11"/>
                    <a:pt x="8" y="9"/>
                  </a:cubicBezTo>
                  <a:cubicBezTo>
                    <a:pt x="10" y="7"/>
                    <a:pt x="10" y="4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7" name="Freeform 3387"/>
            <p:cNvSpPr/>
            <p:nvPr userDrawn="1"/>
          </p:nvSpPr>
          <p:spPr bwMode="auto">
            <a:xfrm>
              <a:off x="8432666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9 w 10"/>
                <a:gd name="T5" fmla="*/ 8 h 10"/>
                <a:gd name="T6" fmla="*/ 9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4"/>
                    <a:pt x="0" y="6"/>
                    <a:pt x="2" y="8"/>
                  </a:cubicBezTo>
                  <a:cubicBezTo>
                    <a:pt x="4" y="10"/>
                    <a:pt x="7" y="10"/>
                    <a:pt x="9" y="8"/>
                  </a:cubicBezTo>
                  <a:cubicBezTo>
                    <a:pt x="10" y="6"/>
                    <a:pt x="10" y="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8" name="Freeform 3388"/>
            <p:cNvSpPr/>
            <p:nvPr userDrawn="1"/>
          </p:nvSpPr>
          <p:spPr bwMode="auto">
            <a:xfrm>
              <a:off x="8434124" y="3086201"/>
              <a:ext cx="20413" cy="20413"/>
            </a:xfrm>
            <a:custGeom>
              <a:avLst/>
              <a:gdLst>
                <a:gd name="T0" fmla="*/ 2 w 10"/>
                <a:gd name="T1" fmla="*/ 2 h 10"/>
                <a:gd name="T2" fmla="*/ 2 w 10"/>
                <a:gd name="T3" fmla="*/ 8 h 10"/>
                <a:gd name="T4" fmla="*/ 8 w 10"/>
                <a:gd name="T5" fmla="*/ 8 h 10"/>
                <a:gd name="T6" fmla="*/ 8 w 10"/>
                <a:gd name="T7" fmla="*/ 2 h 10"/>
                <a:gd name="T8" fmla="*/ 2 w 1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2" y="2"/>
                  </a:moveTo>
                  <a:cubicBezTo>
                    <a:pt x="0" y="3"/>
                    <a:pt x="0" y="6"/>
                    <a:pt x="2" y="8"/>
                  </a:cubicBezTo>
                  <a:cubicBezTo>
                    <a:pt x="4" y="10"/>
                    <a:pt x="7" y="10"/>
                    <a:pt x="8" y="8"/>
                  </a:cubicBezTo>
                  <a:cubicBezTo>
                    <a:pt x="10" y="6"/>
                    <a:pt x="10" y="3"/>
                    <a:pt x="8" y="2"/>
                  </a:cubicBezTo>
                  <a:cubicBezTo>
                    <a:pt x="7" y="0"/>
                    <a:pt x="4" y="0"/>
                    <a:pt x="2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9" name="Freeform 3389"/>
            <p:cNvSpPr/>
            <p:nvPr userDrawn="1"/>
          </p:nvSpPr>
          <p:spPr bwMode="auto">
            <a:xfrm>
              <a:off x="7843597" y="2484010"/>
              <a:ext cx="400975" cy="400976"/>
            </a:xfrm>
            <a:custGeom>
              <a:avLst/>
              <a:gdLst>
                <a:gd name="T0" fmla="*/ 35 w 197"/>
                <a:gd name="T1" fmla="*/ 35 h 197"/>
                <a:gd name="T2" fmla="*/ 35 w 197"/>
                <a:gd name="T3" fmla="*/ 162 h 197"/>
                <a:gd name="T4" fmla="*/ 162 w 197"/>
                <a:gd name="T5" fmla="*/ 162 h 197"/>
                <a:gd name="T6" fmla="*/ 162 w 197"/>
                <a:gd name="T7" fmla="*/ 35 h 197"/>
                <a:gd name="T8" fmla="*/ 35 w 197"/>
                <a:gd name="T9" fmla="*/ 3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97">
                  <a:moveTo>
                    <a:pt x="35" y="35"/>
                  </a:moveTo>
                  <a:cubicBezTo>
                    <a:pt x="0" y="70"/>
                    <a:pt x="0" y="127"/>
                    <a:pt x="35" y="162"/>
                  </a:cubicBezTo>
                  <a:cubicBezTo>
                    <a:pt x="70" y="197"/>
                    <a:pt x="127" y="197"/>
                    <a:pt x="162" y="162"/>
                  </a:cubicBezTo>
                  <a:cubicBezTo>
                    <a:pt x="197" y="127"/>
                    <a:pt x="197" y="70"/>
                    <a:pt x="162" y="35"/>
                  </a:cubicBezTo>
                  <a:cubicBezTo>
                    <a:pt x="127" y="0"/>
                    <a:pt x="70" y="0"/>
                    <a:pt x="3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0" name="Freeform 3390"/>
            <p:cNvSpPr/>
            <p:nvPr userDrawn="1"/>
          </p:nvSpPr>
          <p:spPr bwMode="auto">
            <a:xfrm>
              <a:off x="7818810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1" name="Freeform 3391"/>
            <p:cNvSpPr/>
            <p:nvPr userDrawn="1"/>
          </p:nvSpPr>
          <p:spPr bwMode="auto">
            <a:xfrm>
              <a:off x="7796938" y="2437351"/>
              <a:ext cx="492835" cy="494294"/>
            </a:xfrm>
            <a:custGeom>
              <a:avLst/>
              <a:gdLst>
                <a:gd name="T0" fmla="*/ 43 w 242"/>
                <a:gd name="T1" fmla="*/ 44 h 243"/>
                <a:gd name="T2" fmla="*/ 43 w 242"/>
                <a:gd name="T3" fmla="*/ 200 h 243"/>
                <a:gd name="T4" fmla="*/ 199 w 242"/>
                <a:gd name="T5" fmla="*/ 200 h 243"/>
                <a:gd name="T6" fmla="*/ 199 w 242"/>
                <a:gd name="T7" fmla="*/ 44 h 243"/>
                <a:gd name="T8" fmla="*/ 43 w 242"/>
                <a:gd name="T9" fmla="*/ 4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3">
                  <a:moveTo>
                    <a:pt x="43" y="44"/>
                  </a:moveTo>
                  <a:cubicBezTo>
                    <a:pt x="0" y="87"/>
                    <a:pt x="0" y="157"/>
                    <a:pt x="43" y="200"/>
                  </a:cubicBezTo>
                  <a:cubicBezTo>
                    <a:pt x="86" y="243"/>
                    <a:pt x="156" y="243"/>
                    <a:pt x="199" y="200"/>
                  </a:cubicBezTo>
                  <a:cubicBezTo>
                    <a:pt x="242" y="157"/>
                    <a:pt x="242" y="87"/>
                    <a:pt x="199" y="44"/>
                  </a:cubicBezTo>
                  <a:cubicBezTo>
                    <a:pt x="156" y="0"/>
                    <a:pt x="86" y="0"/>
                    <a:pt x="43" y="44"/>
                  </a:cubicBezTo>
                  <a:close/>
                </a:path>
              </a:pathLst>
            </a:custGeom>
            <a:solidFill>
              <a:srgbClr val="576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2" name="Freeform 3392"/>
            <p:cNvSpPr/>
            <p:nvPr userDrawn="1"/>
          </p:nvSpPr>
          <p:spPr bwMode="auto">
            <a:xfrm>
              <a:off x="8055020" y="2502965"/>
              <a:ext cx="24787" cy="364523"/>
            </a:xfrm>
            <a:custGeom>
              <a:avLst/>
              <a:gdLst>
                <a:gd name="T0" fmla="*/ 0 w 12"/>
                <a:gd name="T1" fmla="*/ 179 h 179"/>
                <a:gd name="T2" fmla="*/ 12 w 12"/>
                <a:gd name="T3" fmla="*/ 178 h 179"/>
                <a:gd name="T4" fmla="*/ 12 w 12"/>
                <a:gd name="T5" fmla="*/ 2 h 179"/>
                <a:gd name="T6" fmla="*/ 0 w 12"/>
                <a:gd name="T7" fmla="*/ 0 h 179"/>
                <a:gd name="T8" fmla="*/ 0 w 12"/>
                <a:gd name="T9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9">
                  <a:moveTo>
                    <a:pt x="0" y="179"/>
                  </a:moveTo>
                  <a:cubicBezTo>
                    <a:pt x="4" y="179"/>
                    <a:pt x="8" y="179"/>
                    <a:pt x="12" y="178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1"/>
                    <a:pt x="4" y="1"/>
                    <a:pt x="0" y="0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3" name="Freeform 3393"/>
            <p:cNvSpPr/>
            <p:nvPr userDrawn="1"/>
          </p:nvSpPr>
          <p:spPr bwMode="auto">
            <a:xfrm>
              <a:off x="7843597" y="2519004"/>
              <a:ext cx="126853" cy="333903"/>
            </a:xfrm>
            <a:custGeom>
              <a:avLst/>
              <a:gdLst>
                <a:gd name="T0" fmla="*/ 35 w 62"/>
                <a:gd name="T1" fmla="*/ 145 h 164"/>
                <a:gd name="T2" fmla="*/ 62 w 62"/>
                <a:gd name="T3" fmla="*/ 164 h 164"/>
                <a:gd name="T4" fmla="*/ 62 w 62"/>
                <a:gd name="T5" fmla="*/ 0 h 164"/>
                <a:gd name="T6" fmla="*/ 35 w 62"/>
                <a:gd name="T7" fmla="*/ 18 h 164"/>
                <a:gd name="T8" fmla="*/ 35 w 62"/>
                <a:gd name="T9" fmla="*/ 14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64">
                  <a:moveTo>
                    <a:pt x="35" y="145"/>
                  </a:moveTo>
                  <a:cubicBezTo>
                    <a:pt x="43" y="153"/>
                    <a:pt x="52" y="160"/>
                    <a:pt x="62" y="164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2" y="4"/>
                    <a:pt x="43" y="10"/>
                    <a:pt x="35" y="18"/>
                  </a:cubicBezTo>
                  <a:cubicBezTo>
                    <a:pt x="0" y="53"/>
                    <a:pt x="0" y="110"/>
                    <a:pt x="35" y="145"/>
                  </a:cubicBez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4" name="Freeform 3394"/>
            <p:cNvSpPr/>
            <p:nvPr userDrawn="1"/>
          </p:nvSpPr>
          <p:spPr bwMode="auto">
            <a:xfrm>
              <a:off x="8114802" y="2517545"/>
              <a:ext cx="129770" cy="335361"/>
            </a:xfrm>
            <a:custGeom>
              <a:avLst/>
              <a:gdLst>
                <a:gd name="T0" fmla="*/ 0 w 64"/>
                <a:gd name="T1" fmla="*/ 165 h 165"/>
                <a:gd name="T2" fmla="*/ 29 w 64"/>
                <a:gd name="T3" fmla="*/ 146 h 165"/>
                <a:gd name="T4" fmla="*/ 29 w 64"/>
                <a:gd name="T5" fmla="*/ 19 h 165"/>
                <a:gd name="T6" fmla="*/ 0 w 64"/>
                <a:gd name="T7" fmla="*/ 0 h 165"/>
                <a:gd name="T8" fmla="*/ 0 w 64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65">
                  <a:moveTo>
                    <a:pt x="0" y="165"/>
                  </a:moveTo>
                  <a:cubicBezTo>
                    <a:pt x="11" y="161"/>
                    <a:pt x="20" y="155"/>
                    <a:pt x="29" y="146"/>
                  </a:cubicBezTo>
                  <a:cubicBezTo>
                    <a:pt x="64" y="111"/>
                    <a:pt x="64" y="54"/>
                    <a:pt x="29" y="19"/>
                  </a:cubicBezTo>
                  <a:cubicBezTo>
                    <a:pt x="20" y="11"/>
                    <a:pt x="11" y="5"/>
                    <a:pt x="0" y="0"/>
                  </a:cubicBezTo>
                  <a:lnTo>
                    <a:pt x="0" y="165"/>
                  </a:lnTo>
                  <a:close/>
                </a:path>
              </a:pathLst>
            </a:custGeom>
            <a:solidFill>
              <a:srgbClr val="E2F2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5" name="Freeform 3395"/>
            <p:cNvSpPr/>
            <p:nvPr userDrawn="1"/>
          </p:nvSpPr>
          <p:spPr bwMode="auto">
            <a:xfrm>
              <a:off x="7970451" y="2502965"/>
              <a:ext cx="84569" cy="365981"/>
            </a:xfrm>
            <a:custGeom>
              <a:avLst/>
              <a:gdLst>
                <a:gd name="T0" fmla="*/ 0 w 42"/>
                <a:gd name="T1" fmla="*/ 8 h 180"/>
                <a:gd name="T2" fmla="*/ 0 w 42"/>
                <a:gd name="T3" fmla="*/ 172 h 180"/>
                <a:gd name="T4" fmla="*/ 42 w 42"/>
                <a:gd name="T5" fmla="*/ 179 h 180"/>
                <a:gd name="T6" fmla="*/ 42 w 42"/>
                <a:gd name="T7" fmla="*/ 0 h 180"/>
                <a:gd name="T8" fmla="*/ 0 w 42"/>
                <a:gd name="T9" fmla="*/ 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0">
                  <a:moveTo>
                    <a:pt x="0" y="8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13" y="178"/>
                    <a:pt x="28" y="180"/>
                    <a:pt x="42" y="17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8" y="0"/>
                    <a:pt x="13" y="2"/>
                    <a:pt x="0" y="8"/>
                  </a:cubicBez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6" name="Freeform 3396"/>
            <p:cNvSpPr/>
            <p:nvPr userDrawn="1"/>
          </p:nvSpPr>
          <p:spPr bwMode="auto">
            <a:xfrm>
              <a:off x="8079807" y="2507339"/>
              <a:ext cx="34994" cy="357233"/>
            </a:xfrm>
            <a:custGeom>
              <a:avLst/>
              <a:gdLst>
                <a:gd name="T0" fmla="*/ 0 w 17"/>
                <a:gd name="T1" fmla="*/ 176 h 176"/>
                <a:gd name="T2" fmla="*/ 17 w 17"/>
                <a:gd name="T3" fmla="*/ 170 h 176"/>
                <a:gd name="T4" fmla="*/ 17 w 17"/>
                <a:gd name="T5" fmla="*/ 5 h 176"/>
                <a:gd name="T6" fmla="*/ 0 w 17"/>
                <a:gd name="T7" fmla="*/ 0 h 176"/>
                <a:gd name="T8" fmla="*/ 0 w 17"/>
                <a:gd name="T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6">
                  <a:moveTo>
                    <a:pt x="0" y="176"/>
                  </a:moveTo>
                  <a:cubicBezTo>
                    <a:pt x="6" y="175"/>
                    <a:pt x="12" y="173"/>
                    <a:pt x="17" y="17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3"/>
                    <a:pt x="6" y="1"/>
                    <a:pt x="0" y="0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rgbClr val="AF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7" name="Freeform 3397"/>
            <p:cNvSpPr/>
            <p:nvPr userDrawn="1"/>
          </p:nvSpPr>
          <p:spPr bwMode="auto">
            <a:xfrm>
              <a:off x="7882966" y="2524836"/>
              <a:ext cx="29162" cy="33537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8" name="Freeform 3398"/>
            <p:cNvSpPr/>
            <p:nvPr userDrawn="1"/>
          </p:nvSpPr>
          <p:spPr bwMode="auto">
            <a:xfrm>
              <a:off x="7884423" y="2524836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9" name="Freeform 3399"/>
            <p:cNvSpPr/>
            <p:nvPr userDrawn="1"/>
          </p:nvSpPr>
          <p:spPr bwMode="auto">
            <a:xfrm>
              <a:off x="8177500" y="2529210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0"/>
                    <a:pt x="15" y="6"/>
                    <a:pt x="13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0" name="Freeform 3400"/>
            <p:cNvSpPr/>
            <p:nvPr userDrawn="1"/>
          </p:nvSpPr>
          <p:spPr bwMode="auto">
            <a:xfrm>
              <a:off x="8180416" y="2529210"/>
              <a:ext cx="32078" cy="30620"/>
            </a:xfrm>
            <a:custGeom>
              <a:avLst/>
              <a:gdLst>
                <a:gd name="T0" fmla="*/ 3 w 16"/>
                <a:gd name="T1" fmla="*/ 3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3 h 15"/>
                <a:gd name="T8" fmla="*/ 3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1" name="Freeform 3401"/>
            <p:cNvSpPr/>
            <p:nvPr userDrawn="1"/>
          </p:nvSpPr>
          <p:spPr bwMode="auto">
            <a:xfrm>
              <a:off x="8024400" y="2463597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2" name="Freeform 3402"/>
            <p:cNvSpPr/>
            <p:nvPr userDrawn="1"/>
          </p:nvSpPr>
          <p:spPr bwMode="auto">
            <a:xfrm>
              <a:off x="8027316" y="2463597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3" name="Freeform 3403"/>
            <p:cNvSpPr/>
            <p:nvPr userDrawn="1"/>
          </p:nvSpPr>
          <p:spPr bwMode="auto">
            <a:xfrm>
              <a:off x="8024400" y="2870404"/>
              <a:ext cx="33536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4" name="Freeform 3404"/>
            <p:cNvSpPr/>
            <p:nvPr userDrawn="1"/>
          </p:nvSpPr>
          <p:spPr bwMode="auto">
            <a:xfrm>
              <a:off x="8027316" y="2870404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0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0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5" name="Freeform 3405"/>
            <p:cNvSpPr/>
            <p:nvPr userDrawn="1"/>
          </p:nvSpPr>
          <p:spPr bwMode="auto">
            <a:xfrm>
              <a:off x="7821726" y="2676478"/>
              <a:ext cx="32078" cy="29162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3 h 15"/>
                <a:gd name="T4" fmla="*/ 13 w 16"/>
                <a:gd name="T5" fmla="*/ 13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6" y="15"/>
                    <a:pt x="10" y="15"/>
                    <a:pt x="13" y="13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6" name="Freeform 3406"/>
            <p:cNvSpPr/>
            <p:nvPr userDrawn="1"/>
          </p:nvSpPr>
          <p:spPr bwMode="auto">
            <a:xfrm>
              <a:off x="7824642" y="2673562"/>
              <a:ext cx="30619" cy="32078"/>
            </a:xfrm>
            <a:custGeom>
              <a:avLst/>
              <a:gdLst>
                <a:gd name="T0" fmla="*/ 3 w 15"/>
                <a:gd name="T1" fmla="*/ 3 h 16"/>
                <a:gd name="T2" fmla="*/ 3 w 15"/>
                <a:gd name="T3" fmla="*/ 13 h 16"/>
                <a:gd name="T4" fmla="*/ 13 w 15"/>
                <a:gd name="T5" fmla="*/ 13 h 16"/>
                <a:gd name="T6" fmla="*/ 13 w 15"/>
                <a:gd name="T7" fmla="*/ 3 h 16"/>
                <a:gd name="T8" fmla="*/ 3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3"/>
                  </a:moveTo>
                  <a:cubicBezTo>
                    <a:pt x="0" y="6"/>
                    <a:pt x="0" y="11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5" y="11"/>
                    <a:pt x="15" y="6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7" name="Freeform 3407"/>
            <p:cNvSpPr/>
            <p:nvPr userDrawn="1"/>
          </p:nvSpPr>
          <p:spPr bwMode="auto">
            <a:xfrm>
              <a:off x="8229991" y="2667729"/>
              <a:ext cx="30619" cy="32078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8" name="Freeform 3408"/>
            <p:cNvSpPr/>
            <p:nvPr userDrawn="1"/>
          </p:nvSpPr>
          <p:spPr bwMode="auto">
            <a:xfrm>
              <a:off x="8232908" y="2667729"/>
              <a:ext cx="32078" cy="32078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6"/>
                    <a:pt x="10" y="16"/>
                    <a:pt x="13" y="13"/>
                  </a:cubicBezTo>
                  <a:cubicBezTo>
                    <a:pt x="16" y="10"/>
                    <a:pt x="16" y="5"/>
                    <a:pt x="13" y="3"/>
                  </a:cubicBezTo>
                  <a:cubicBezTo>
                    <a:pt x="10" y="0"/>
                    <a:pt x="5" y="0"/>
                    <a:pt x="3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9" name="Freeform 3409"/>
            <p:cNvSpPr/>
            <p:nvPr userDrawn="1"/>
          </p:nvSpPr>
          <p:spPr bwMode="auto">
            <a:xfrm>
              <a:off x="7885882" y="2820829"/>
              <a:ext cx="33536" cy="30620"/>
            </a:xfrm>
            <a:custGeom>
              <a:avLst/>
              <a:gdLst>
                <a:gd name="T0" fmla="*/ 3 w 16"/>
                <a:gd name="T1" fmla="*/ 2 h 15"/>
                <a:gd name="T2" fmla="*/ 3 w 16"/>
                <a:gd name="T3" fmla="*/ 12 h 15"/>
                <a:gd name="T4" fmla="*/ 13 w 16"/>
                <a:gd name="T5" fmla="*/ 12 h 15"/>
                <a:gd name="T6" fmla="*/ 13 w 16"/>
                <a:gd name="T7" fmla="*/ 2 h 15"/>
                <a:gd name="T8" fmla="*/ 3 w 16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3" y="2"/>
                  </a:moveTo>
                  <a:cubicBezTo>
                    <a:pt x="0" y="5"/>
                    <a:pt x="0" y="10"/>
                    <a:pt x="3" y="12"/>
                  </a:cubicBezTo>
                  <a:cubicBezTo>
                    <a:pt x="6" y="15"/>
                    <a:pt x="10" y="15"/>
                    <a:pt x="13" y="12"/>
                  </a:cubicBezTo>
                  <a:cubicBezTo>
                    <a:pt x="16" y="10"/>
                    <a:pt x="16" y="5"/>
                    <a:pt x="13" y="2"/>
                  </a:cubicBezTo>
                  <a:cubicBezTo>
                    <a:pt x="10" y="0"/>
                    <a:pt x="6" y="0"/>
                    <a:pt x="3" y="2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0" name="Freeform 3410"/>
            <p:cNvSpPr/>
            <p:nvPr userDrawn="1"/>
          </p:nvSpPr>
          <p:spPr bwMode="auto">
            <a:xfrm>
              <a:off x="7890256" y="2817912"/>
              <a:ext cx="30619" cy="33537"/>
            </a:xfrm>
            <a:custGeom>
              <a:avLst/>
              <a:gdLst>
                <a:gd name="T0" fmla="*/ 2 w 15"/>
                <a:gd name="T1" fmla="*/ 3 h 16"/>
                <a:gd name="T2" fmla="*/ 2 w 15"/>
                <a:gd name="T3" fmla="*/ 13 h 16"/>
                <a:gd name="T4" fmla="*/ 12 w 15"/>
                <a:gd name="T5" fmla="*/ 13 h 16"/>
                <a:gd name="T6" fmla="*/ 12 w 15"/>
                <a:gd name="T7" fmla="*/ 3 h 16"/>
                <a:gd name="T8" fmla="*/ 2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3"/>
                  </a:moveTo>
                  <a:cubicBezTo>
                    <a:pt x="0" y="6"/>
                    <a:pt x="0" y="10"/>
                    <a:pt x="2" y="13"/>
                  </a:cubicBezTo>
                  <a:cubicBezTo>
                    <a:pt x="5" y="16"/>
                    <a:pt x="10" y="16"/>
                    <a:pt x="12" y="13"/>
                  </a:cubicBezTo>
                  <a:cubicBezTo>
                    <a:pt x="15" y="10"/>
                    <a:pt x="15" y="6"/>
                    <a:pt x="12" y="3"/>
                  </a:cubicBezTo>
                  <a:cubicBezTo>
                    <a:pt x="10" y="0"/>
                    <a:pt x="5" y="0"/>
                    <a:pt x="2" y="3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1" name="Freeform 3411"/>
            <p:cNvSpPr/>
            <p:nvPr userDrawn="1"/>
          </p:nvSpPr>
          <p:spPr bwMode="auto">
            <a:xfrm>
              <a:off x="8170209" y="2813539"/>
              <a:ext cx="32078" cy="33537"/>
            </a:xfrm>
            <a:custGeom>
              <a:avLst/>
              <a:gdLst>
                <a:gd name="T0" fmla="*/ 3 w 16"/>
                <a:gd name="T1" fmla="*/ 3 h 16"/>
                <a:gd name="T2" fmla="*/ 3 w 16"/>
                <a:gd name="T3" fmla="*/ 13 h 16"/>
                <a:gd name="T4" fmla="*/ 13 w 16"/>
                <a:gd name="T5" fmla="*/ 13 h 16"/>
                <a:gd name="T6" fmla="*/ 13 w 16"/>
                <a:gd name="T7" fmla="*/ 3 h 16"/>
                <a:gd name="T8" fmla="*/ 3 w 16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6" y="16"/>
                    <a:pt x="11" y="16"/>
                    <a:pt x="13" y="13"/>
                  </a:cubicBezTo>
                  <a:cubicBezTo>
                    <a:pt x="16" y="10"/>
                    <a:pt x="16" y="6"/>
                    <a:pt x="13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solidFill>
              <a:srgbClr val="818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2" name="Freeform 3412"/>
            <p:cNvSpPr/>
            <p:nvPr userDrawn="1"/>
          </p:nvSpPr>
          <p:spPr bwMode="auto">
            <a:xfrm>
              <a:off x="8173125" y="2813539"/>
              <a:ext cx="30619" cy="30620"/>
            </a:xfrm>
            <a:custGeom>
              <a:avLst/>
              <a:gdLst>
                <a:gd name="T0" fmla="*/ 3 w 15"/>
                <a:gd name="T1" fmla="*/ 2 h 15"/>
                <a:gd name="T2" fmla="*/ 3 w 15"/>
                <a:gd name="T3" fmla="*/ 13 h 15"/>
                <a:gd name="T4" fmla="*/ 13 w 15"/>
                <a:gd name="T5" fmla="*/ 13 h 15"/>
                <a:gd name="T6" fmla="*/ 13 w 15"/>
                <a:gd name="T7" fmla="*/ 2 h 15"/>
                <a:gd name="T8" fmla="*/ 3 w 15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2"/>
                  </a:moveTo>
                  <a:cubicBezTo>
                    <a:pt x="0" y="5"/>
                    <a:pt x="0" y="10"/>
                    <a:pt x="3" y="13"/>
                  </a:cubicBezTo>
                  <a:cubicBezTo>
                    <a:pt x="5" y="15"/>
                    <a:pt x="10" y="15"/>
                    <a:pt x="13" y="13"/>
                  </a:cubicBezTo>
                  <a:cubicBezTo>
                    <a:pt x="15" y="10"/>
                    <a:pt x="15" y="5"/>
                    <a:pt x="13" y="2"/>
                  </a:cubicBezTo>
                  <a:cubicBezTo>
                    <a:pt x="10" y="0"/>
                    <a:pt x="5" y="0"/>
                    <a:pt x="3" y="2"/>
                  </a:cubicBezTo>
                  <a:close/>
                </a:path>
              </a:pathLst>
            </a:custGeom>
            <a:solidFill>
              <a:srgbClr val="171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244395" y="2635366"/>
            <a:ext cx="5255351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9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44395" y="4941602"/>
            <a:ext cx="525535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244396" y="4645331"/>
            <a:ext cx="525535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303" name="图片 30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783" y="6402117"/>
            <a:ext cx="1584000" cy="307534"/>
          </a:xfrm>
          <a:prstGeom prst="rect">
            <a:avLst/>
          </a:prstGeom>
        </p:spPr>
      </p:pic>
      <p:pic>
        <p:nvPicPr>
          <p:cNvPr id="304" name="图片 30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702" y="6264431"/>
            <a:ext cx="1296000" cy="516332"/>
          </a:xfrm>
          <a:prstGeom prst="rect">
            <a:avLst/>
          </a:prstGeom>
        </p:spPr>
      </p:pic>
      <p:sp>
        <p:nvSpPr>
          <p:cNvPr id="305" name="文本框 304"/>
          <p:cNvSpPr txBox="1"/>
          <p:nvPr userDrawn="1"/>
        </p:nvSpPr>
        <p:spPr>
          <a:xfrm>
            <a:off x="7868555" y="6374061"/>
            <a:ext cx="469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X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0/8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6.jpeg"/><Relationship Id="rId5" Type="http://schemas.openxmlformats.org/officeDocument/2006/relationships/tags" Target="../tags/tag3.xml"/><Relationship Id="rId10" Type="http://schemas.openxmlformats.org/officeDocument/2006/relationships/image" Target="../media/image2.png"/><Relationship Id="rId4" Type="http://schemas.openxmlformats.org/officeDocument/2006/relationships/tags" Target="../tags/tag2.xml"/><Relationship Id="rId9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hupu.io/pages/viewpage.action?pageId=1837905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msv-zuul-sit.hupu.io:8769/&#24494;&#26381;&#21153;&#21517;/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hyperlink" Target="http://docs.hupu.io/pages/viewpage.action?pageId=10584505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2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msv-sugar.hupu.io/#/monit/index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0.png"/><Relationship Id="rId4" Type="http://schemas.openxmlformats.org/officeDocument/2006/relationships/hyperlink" Target="http://docs.hupu.io/pages/viewpage.action?pageId=1838019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hupu.io/pages/viewpage.action?pageId=1838046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842471" y="2440091"/>
            <a:ext cx="6325245" cy="1723406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zh-CN" altLang="en-US" sz="3600" dirty="0"/>
              <a:t>技术培训生课程</a:t>
            </a:r>
            <a:br>
              <a:rPr lang="en-US" altLang="zh-CN" sz="3600" dirty="0"/>
            </a:br>
            <a:br>
              <a:rPr lang="en-US" altLang="zh-CN" sz="3600" dirty="0"/>
            </a:br>
            <a:r>
              <a:rPr lang="zh-CN" altLang="en-US" sz="5400" dirty="0">
                <a:latin typeface="系统字体" panose="00000400000000000000" charset="0"/>
                <a:ea typeface="PingFang SC" panose="020B0400000000000000" charset="-122"/>
              </a:rPr>
              <a:t>微服务应用规范</a:t>
            </a:r>
            <a:br>
              <a:rPr lang="en-US" altLang="zh-CN" sz="5400" dirty="0">
                <a:latin typeface="系统字体" panose="00000400000000000000" charset="0"/>
                <a:ea typeface="PingFang SC" panose="020B0400000000000000" charset="-122"/>
              </a:rPr>
            </a:br>
            <a:r>
              <a:rPr lang="zh-CN" altLang="en-US" sz="5400" dirty="0">
                <a:latin typeface="系统字体" panose="00000400000000000000" charset="0"/>
                <a:ea typeface="PingFang SC" panose="020B0400000000000000" charset="-122"/>
              </a:rPr>
              <a:t>与治理体系</a:t>
            </a:r>
            <a:endParaRPr lang="zh-CN" altLang="en-US" sz="4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讲师：钱杰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/>
              <a:t>日期：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8</a:t>
            </a:r>
            <a:r>
              <a:rPr lang="zh-CN" altLang="en-US" dirty="0"/>
              <a:t>月</a:t>
            </a:r>
            <a:endParaRPr lang="en-US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1" y="6327970"/>
            <a:ext cx="1387753" cy="26943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146" y="6216796"/>
            <a:ext cx="1196571" cy="476722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2353250" y="6286359"/>
            <a:ext cx="469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X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EA0ECC7-5358-4D2A-BBF8-5876469460F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5" t="3839" r="3909" b="33985"/>
          <a:stretch/>
        </p:blipFill>
        <p:spPr>
          <a:xfrm>
            <a:off x="10626437" y="290946"/>
            <a:ext cx="1318211" cy="1312950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84CF0C9F-CB2D-4369-AA56-189E7E89AEAB}"/>
              </a:ext>
            </a:extLst>
          </p:cNvPr>
          <p:cNvSpPr txBox="1"/>
          <p:nvPr/>
        </p:nvSpPr>
        <p:spPr>
          <a:xfrm>
            <a:off x="10626437" y="1603896"/>
            <a:ext cx="13182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j-cs"/>
              </a:rPr>
              <a:t>钉钉签到</a:t>
            </a:r>
            <a:endParaRPr lang="zh-CN" altLang="en-US" sz="1100" dirty="0"/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zh-CN" altLang="en-US" sz="3200" dirty="0"/>
              <a:t>调用</a:t>
            </a:r>
            <a:endParaRPr lang="en-US" altLang="zh-CN" sz="3200" b="1" dirty="0"/>
          </a:p>
        </p:txBody>
      </p:sp>
      <p:sp>
        <p:nvSpPr>
          <p:cNvPr id="6" name="内容占位符 2"/>
          <p:cNvSpPr txBox="1"/>
          <p:nvPr/>
        </p:nvSpPr>
        <p:spPr>
          <a:xfrm>
            <a:off x="837405" y="1253331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zh-CN" altLang="en-US" sz="1600" dirty="0"/>
              <a:t>服务间调用应使用</a:t>
            </a:r>
            <a:r>
              <a:rPr lang="en-US" altLang="zh-CN" sz="1600" dirty="0"/>
              <a:t>Feign Client</a:t>
            </a:r>
            <a:r>
              <a:rPr lang="zh-CN" altLang="zh-CN" sz="1600" dirty="0"/>
              <a:t>，</a:t>
            </a:r>
            <a:r>
              <a:rPr lang="zh-CN" altLang="en-US" sz="1600" dirty="0"/>
              <a:t>切勿</a:t>
            </a:r>
            <a:r>
              <a:rPr lang="zh-CN" altLang="zh-CN" sz="1600" dirty="0"/>
              <a:t>使用</a:t>
            </a:r>
            <a:r>
              <a:rPr lang="en-US" altLang="zh-CN" sz="1600" dirty="0" err="1"/>
              <a:t>RestTemplate</a:t>
            </a:r>
            <a:r>
              <a:rPr lang="en-US" altLang="zh-CN" sz="1600" dirty="0"/>
              <a:t>/</a:t>
            </a:r>
            <a:r>
              <a:rPr lang="en-US" altLang="zh-CN" sz="1600" dirty="0" err="1"/>
              <a:t>Apach</a:t>
            </a:r>
            <a:r>
              <a:rPr lang="en-US" altLang="zh-CN" sz="1600" dirty="0"/>
              <a:t> Http Client</a:t>
            </a:r>
            <a:r>
              <a:rPr lang="zh-CN" altLang="en-US" sz="1600" dirty="0"/>
              <a:t>等</a:t>
            </a:r>
            <a:r>
              <a:rPr lang="zh-CN" altLang="zh-CN" sz="1600" dirty="0"/>
              <a:t>直接调用服务。</a:t>
            </a:r>
            <a:endParaRPr lang="en-US" altLang="zh-CN" sz="1600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/>
              <a:t>Feign Client</a:t>
            </a:r>
            <a:r>
              <a:rPr lang="zh-CN" altLang="zh-CN" sz="1600" dirty="0"/>
              <a:t>是一个声明式、模板化的</a:t>
            </a:r>
            <a:r>
              <a:rPr lang="en-US" altLang="zh-CN" sz="1600" dirty="0"/>
              <a:t>HTTP</a:t>
            </a:r>
            <a:r>
              <a:rPr lang="zh-CN" altLang="zh-CN" sz="1600" dirty="0"/>
              <a:t>客户端。</a:t>
            </a:r>
            <a:endParaRPr lang="en-US" altLang="zh-CN" sz="16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/>
              <a:t>旨在让</a:t>
            </a:r>
            <a:r>
              <a:rPr lang="en-US" altLang="zh-CN" sz="1600" dirty="0"/>
              <a:t>HTTP</a:t>
            </a:r>
            <a:r>
              <a:rPr lang="zh-CN" altLang="zh-CN" sz="1600" dirty="0"/>
              <a:t>远程调用对开发者完全透明</a:t>
            </a:r>
            <a:r>
              <a:rPr lang="zh-CN" altLang="en-US" sz="1600" dirty="0"/>
              <a:t>，</a:t>
            </a:r>
            <a:r>
              <a:rPr lang="en-US" altLang="zh-CN" sz="1600" dirty="0"/>
              <a:t> </a:t>
            </a:r>
            <a:r>
              <a:rPr lang="zh-CN" altLang="en-US" sz="1600" dirty="0"/>
              <a:t>得到</a:t>
            </a:r>
            <a:r>
              <a:rPr lang="zh-CN" altLang="zh-CN" sz="1600" dirty="0"/>
              <a:t>与调用本地方法一致的编码体验。</a:t>
            </a:r>
            <a:endParaRPr lang="en-US" altLang="zh-CN" sz="16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/>
              <a:t>使用细节可参考：</a:t>
            </a:r>
            <a:br>
              <a:rPr lang="en-US" altLang="zh-CN" sz="1600" dirty="0"/>
            </a:br>
            <a:r>
              <a:rPr lang="en-US" altLang="zh-CN" sz="1600" dirty="0">
                <a:hlinkClick r:id="rId3"/>
              </a:rPr>
              <a:t>http://docs.hupu.io/pages/viewpage.action?pageId=1837905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Feign Client</a:t>
            </a:r>
            <a:r>
              <a:rPr lang="zh-CN" altLang="zh-CN" sz="1600" dirty="0"/>
              <a:t>集成了以下功能</a:t>
            </a:r>
            <a:r>
              <a:rPr lang="zh-CN" altLang="en-US" sz="1600" dirty="0"/>
              <a:t>：</a:t>
            </a:r>
            <a:endParaRPr lang="en-US" altLang="zh-CN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1600" b="1" dirty="0"/>
              <a:t>Ribbon</a:t>
            </a:r>
          </a:p>
          <a:p>
            <a:pPr lvl="1"/>
            <a:r>
              <a:rPr lang="zh-CN" altLang="en-US" dirty="0"/>
              <a:t>支持客户端级别的</a:t>
            </a:r>
            <a:r>
              <a:rPr lang="zh-CN" altLang="zh-CN" dirty="0"/>
              <a:t>负载均衡</a:t>
            </a:r>
            <a:r>
              <a:rPr lang="zh-CN" altLang="en-US" dirty="0"/>
              <a:t>功能</a:t>
            </a:r>
            <a:endParaRPr lang="en-US" altLang="zh-CN" dirty="0"/>
          </a:p>
          <a:p>
            <a:pPr lvl="1"/>
            <a:r>
              <a:rPr lang="zh-CN" altLang="zh-CN" dirty="0"/>
              <a:t>容错</a:t>
            </a:r>
            <a:r>
              <a:rPr lang="en-US" altLang="zh-CN" dirty="0"/>
              <a:t>/</a:t>
            </a:r>
            <a:r>
              <a:rPr lang="zh-CN" altLang="zh-CN" dirty="0"/>
              <a:t>重试机制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1600" b="1" dirty="0" err="1"/>
              <a:t>Hystrix</a:t>
            </a:r>
            <a:r>
              <a:rPr lang="en-US" altLang="zh-CN" sz="1600" b="1" dirty="0"/>
              <a:t>  </a:t>
            </a:r>
          </a:p>
          <a:p>
            <a:pPr lvl="1"/>
            <a:r>
              <a:rPr lang="zh-CN" altLang="zh-CN" dirty="0"/>
              <a:t>线程</a:t>
            </a:r>
            <a:r>
              <a:rPr lang="en-US" altLang="zh-CN" dirty="0"/>
              <a:t>/</a:t>
            </a:r>
            <a:r>
              <a:rPr lang="zh-CN" altLang="en-US" dirty="0"/>
              <a:t>信号量</a:t>
            </a:r>
            <a:r>
              <a:rPr lang="zh-CN" altLang="zh-CN" dirty="0"/>
              <a:t>隔离</a:t>
            </a:r>
            <a:r>
              <a:rPr lang="zh-CN" altLang="en-US" dirty="0"/>
              <a:t>、</a:t>
            </a:r>
            <a:r>
              <a:rPr lang="zh-CN" altLang="zh-CN" dirty="0"/>
              <a:t>限流</a:t>
            </a:r>
            <a:endParaRPr lang="en-US" altLang="zh-CN" dirty="0"/>
          </a:p>
          <a:p>
            <a:pPr lvl="1"/>
            <a:r>
              <a:rPr lang="zh-CN" altLang="zh-CN" dirty="0"/>
              <a:t>熔断</a:t>
            </a:r>
            <a:r>
              <a:rPr lang="zh-CN" altLang="en-US" dirty="0"/>
              <a:t>、降级</a:t>
            </a:r>
            <a:endParaRPr lang="zh-CN" altLang="zh-CN" dirty="0"/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400" dirty="0"/>
          </a:p>
        </p:txBody>
      </p:sp>
      <p:sp>
        <p:nvSpPr>
          <p:cNvPr id="3" name="矩形 2"/>
          <p:cNvSpPr/>
          <p:nvPr/>
        </p:nvSpPr>
        <p:spPr>
          <a:xfrm>
            <a:off x="10893287" y="5714255"/>
            <a:ext cx="1126435" cy="10286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6573" y="2963985"/>
            <a:ext cx="5146191" cy="37789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</a:t>
            </a:r>
            <a:r>
              <a:rPr lang="zh-CN" altLang="en-US" sz="3200" dirty="0"/>
              <a:t> 调用</a:t>
            </a:r>
            <a:endParaRPr lang="en-US" altLang="zh-CN" sz="3200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FF0000"/>
                </a:solidFill>
              </a:rPr>
              <a:t>11</a:t>
            </a:fld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5" name="内容占位符 2"/>
          <p:cNvSpPr txBox="1"/>
          <p:nvPr/>
        </p:nvSpPr>
        <p:spPr>
          <a:xfrm>
            <a:off x="838200" y="1362916"/>
            <a:ext cx="10515600" cy="458619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en-US" altLang="zh-CN" sz="2400" b="1" dirty="0"/>
              <a:t>Feign</a:t>
            </a:r>
            <a:r>
              <a:rPr lang="en-US" altLang="zh-CN" sz="2400" dirty="0"/>
              <a:t>  </a:t>
            </a:r>
            <a:r>
              <a:rPr lang="en-US" altLang="zh-CN" sz="2400" b="1" dirty="0"/>
              <a:t>Ribbon</a:t>
            </a:r>
            <a:r>
              <a:rPr lang="zh-CN" altLang="en-US" sz="2400" b="1" dirty="0"/>
              <a:t>负载均衡支持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1</a:t>
            </a:r>
            <a:r>
              <a:rPr lang="zh-CN" altLang="en-US" sz="1600" dirty="0"/>
              <a:t>、微服务先注册到</a:t>
            </a:r>
            <a:r>
              <a:rPr lang="en-US" altLang="zh-CN" sz="1600" dirty="0"/>
              <a:t>Eureka </a:t>
            </a:r>
            <a:r>
              <a:rPr lang="zh-CN" altLang="en-US" sz="1600" dirty="0"/>
              <a:t>。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2</a:t>
            </a:r>
            <a:r>
              <a:rPr lang="zh-CN" altLang="en-US" sz="1600" dirty="0"/>
              <a:t>、</a:t>
            </a:r>
            <a:r>
              <a:rPr lang="en-US" altLang="zh-CN" sz="1600" dirty="0"/>
              <a:t>Ribbon</a:t>
            </a:r>
            <a:r>
              <a:rPr lang="zh-CN" altLang="en-US" sz="1600" dirty="0"/>
              <a:t>配合</a:t>
            </a:r>
            <a:r>
              <a:rPr lang="en-US" altLang="zh-CN" sz="1600" dirty="0"/>
              <a:t>Eureka</a:t>
            </a:r>
            <a:r>
              <a:rPr lang="zh-CN" altLang="en-US" sz="1600" dirty="0"/>
              <a:t>实现客户端侧的负载均衡。</a:t>
            </a:r>
            <a:endParaRPr lang="en-US" altLang="zh-CN" sz="1600" dirty="0"/>
          </a:p>
          <a:p>
            <a:pPr marL="0" lvl="1" indent="0">
              <a:spcBef>
                <a:spcPts val="1000"/>
              </a:spcBef>
              <a:buFont typeface="Arial" panose="020B0604020202090204" pitchFamily="34" charset="0"/>
              <a:buNone/>
            </a:pPr>
            <a:r>
              <a:rPr lang="en-US" altLang="zh-CN" dirty="0"/>
              <a:t>3</a:t>
            </a:r>
            <a:r>
              <a:rPr lang="zh-CN" altLang="en-US" dirty="0"/>
              <a:t>、支持重试，具有一定的容错能力</a:t>
            </a:r>
            <a:endParaRPr lang="en-US" altLang="zh-CN" dirty="0"/>
          </a:p>
          <a:p>
            <a:pPr marL="0" lvl="1" indent="0">
              <a:spcBef>
                <a:spcPts val="1000"/>
              </a:spcBef>
              <a:buFont typeface="Arial" panose="020B0604020202090204" pitchFamily="34" charset="0"/>
              <a:buNone/>
            </a:pPr>
            <a:endParaRPr lang="en-US" altLang="zh-CN" dirty="0"/>
          </a:p>
          <a:p>
            <a:pPr marL="0" lvl="1" indent="0">
              <a:spcBef>
                <a:spcPts val="1000"/>
              </a:spcBef>
              <a:buFont typeface="Arial" panose="020B0604020202090204" pitchFamily="34" charset="0"/>
              <a:buNone/>
            </a:pPr>
            <a:endParaRPr lang="en-US" altLang="zh-CN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zh-CN" altLang="en-US" sz="2400" b="1" dirty="0"/>
              <a:t>自定义负载均衡</a:t>
            </a:r>
            <a:r>
              <a:rPr lang="en-US" altLang="zh-CN" sz="2400" dirty="0"/>
              <a:t> </a:t>
            </a:r>
          </a:p>
          <a:p>
            <a:pPr marL="0" indent="0">
              <a:buNone/>
            </a:pPr>
            <a:r>
              <a:rPr lang="en-US" altLang="zh-CN" sz="1600" dirty="0"/>
              <a:t>1</a:t>
            </a:r>
            <a:r>
              <a:rPr lang="zh-CN" altLang="en-US" sz="1600" dirty="0"/>
              <a:t>、自定义负载均衡规则：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        &lt;</a:t>
            </a:r>
            <a:r>
              <a:rPr lang="zh-CN" altLang="en-US" sz="1600" dirty="0"/>
              <a:t>微服务名</a:t>
            </a:r>
            <a:r>
              <a:rPr lang="en-US" altLang="zh-CN" sz="1600" dirty="0"/>
              <a:t>&gt;.</a:t>
            </a:r>
            <a:r>
              <a:rPr lang="en-US" altLang="zh-CN" sz="1600" dirty="0" err="1"/>
              <a:t>ribbon.NFLoadBalancerRuleClassName</a:t>
            </a:r>
            <a:r>
              <a:rPr lang="en-US" altLang="zh-CN" sz="1600" dirty="0"/>
              <a:t>=</a:t>
            </a:r>
            <a:r>
              <a:rPr lang="en-US" altLang="zh-CN" sz="1600" dirty="0" err="1"/>
              <a:t>com.netflix.loadbalancer.RandomRule</a:t>
            </a:r>
            <a:endParaRPr lang="en-US" altLang="zh-CN" sz="1600" dirty="0"/>
          </a:p>
          <a:p>
            <a:pPr marL="0" indent="0">
              <a:buNone/>
            </a:pPr>
            <a:r>
              <a:rPr lang="en-US" altLang="zh-CN" sz="1600" dirty="0"/>
              <a:t>2</a:t>
            </a:r>
            <a:r>
              <a:rPr lang="zh-CN" altLang="en-US" sz="1600" dirty="0"/>
              <a:t>、自定义服务列表：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zh-CN" altLang="en-US" sz="1600" dirty="0"/>
              <a:t>       </a:t>
            </a:r>
            <a:r>
              <a:rPr lang="en-US" altLang="zh-CN" sz="1600" dirty="0"/>
              <a:t>&lt;</a:t>
            </a:r>
            <a:r>
              <a:rPr lang="zh-CN" altLang="en-US" sz="1600" dirty="0"/>
              <a:t>微服务名</a:t>
            </a:r>
            <a:r>
              <a:rPr lang="en-US" altLang="zh-CN" sz="1600" dirty="0"/>
              <a:t>&gt;.</a:t>
            </a:r>
            <a:r>
              <a:rPr lang="en-US" altLang="zh-CN" sz="1600" dirty="0" err="1"/>
              <a:t>ribbon.NIWSServerListClassName</a:t>
            </a:r>
            <a:r>
              <a:rPr lang="en-US" altLang="zh-CN" sz="1600" dirty="0"/>
              <a:t> = </a:t>
            </a:r>
            <a:r>
              <a:rPr lang="en-US" altLang="zh-CN" sz="1600" dirty="0" err="1"/>
              <a:t>com.netflix.loadbalancer.ConfigurationBasedServerList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       &lt;</a:t>
            </a:r>
            <a:r>
              <a:rPr lang="zh-CN" altLang="en-US" sz="1600" dirty="0"/>
              <a:t>微服务名</a:t>
            </a:r>
            <a:r>
              <a:rPr lang="en-US" altLang="zh-CN" sz="1600" dirty="0"/>
              <a:t>&gt;.</a:t>
            </a:r>
            <a:r>
              <a:rPr lang="en-US" altLang="zh-CN" sz="1600" dirty="0" err="1"/>
              <a:t>ribbon.listOfServers</a:t>
            </a:r>
            <a:r>
              <a:rPr lang="en-US" altLang="zh-CN" sz="1600" dirty="0"/>
              <a:t> = MS1:8081,MS2:8081</a:t>
            </a:r>
          </a:p>
          <a:p>
            <a:pPr marL="0" lvl="1" indent="0">
              <a:spcBef>
                <a:spcPts val="1000"/>
              </a:spcBef>
              <a:buFont typeface="Arial" panose="020B0604020202090204" pitchFamily="34" charset="0"/>
              <a:buNone/>
            </a:pPr>
            <a:endParaRPr lang="en-US" altLang="zh-CN" dirty="0"/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24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6334" y="1362916"/>
            <a:ext cx="6292451" cy="45861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zh-CN" altLang="en-US" sz="3200" b="1" dirty="0"/>
              <a:t>调用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657894" y="1320057"/>
            <a:ext cx="10515600" cy="523618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90204" pitchFamily="34" charset="0"/>
              <a:buNone/>
            </a:pPr>
            <a:r>
              <a:rPr lang="en-US" altLang="zh-CN" sz="2000" b="1" dirty="0"/>
              <a:t>Feign </a:t>
            </a:r>
            <a:r>
              <a:rPr lang="en-US" altLang="zh-CN" sz="2000" b="1" dirty="0" err="1"/>
              <a:t>Hystrix</a:t>
            </a:r>
            <a:r>
              <a:rPr lang="en-US" altLang="zh-CN" sz="2000" b="1" dirty="0"/>
              <a:t> </a:t>
            </a:r>
            <a:r>
              <a:rPr lang="zh-CN" altLang="en-US" sz="2000" b="1" dirty="0"/>
              <a:t>依赖隔离、限流、熔断、降级支持</a:t>
            </a:r>
            <a:endParaRPr lang="en-US" altLang="zh-CN" sz="2000" b="1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用于隔离访问远程服务或第三方库，防止级联失败，从而</a:t>
            </a:r>
            <a:br>
              <a:rPr lang="en-US" altLang="zh-CN" dirty="0"/>
            </a:br>
            <a:r>
              <a:rPr lang="zh-CN" altLang="en-US" dirty="0"/>
              <a:t>提高系统的可用性和容错性。</a:t>
            </a:r>
            <a:r>
              <a:rPr lang="en-US" altLang="zh-CN" dirty="0"/>
              <a:t> </a:t>
            </a:r>
          </a:p>
          <a:p>
            <a:pPr marL="0" indent="0">
              <a:lnSpc>
                <a:spcPct val="100000"/>
              </a:lnSpc>
              <a:buFont typeface="Arial" panose="020B0604020202090204" pitchFamily="34" charset="0"/>
              <a:buNone/>
            </a:pPr>
            <a:endParaRPr lang="en-US" altLang="zh-CN" dirty="0"/>
          </a:p>
          <a:p>
            <a:pPr marL="0" indent="0">
              <a:lnSpc>
                <a:spcPct val="100000"/>
              </a:lnSpc>
              <a:buFont typeface="Arial" panose="020B0604020202090204" pitchFamily="34" charset="0"/>
              <a:buNone/>
            </a:pPr>
            <a:r>
              <a:rPr lang="zh-CN" altLang="en-US" b="1" dirty="0"/>
              <a:t>引起级联失败，雪崩效应的原因：</a:t>
            </a:r>
            <a:endParaRPr lang="en-US" altLang="zh-CN" b="1" dirty="0"/>
          </a:p>
          <a:p>
            <a:pPr>
              <a:lnSpc>
                <a:spcPct val="100000"/>
              </a:lnSpc>
            </a:pPr>
            <a:r>
              <a:rPr lang="zh-CN" altLang="en-US" dirty="0"/>
              <a:t>服务提供者不可用</a:t>
            </a:r>
            <a:endParaRPr lang="en-US" altLang="zh-CN" dirty="0"/>
          </a:p>
          <a:p>
            <a:pPr marL="666750" indent="-400050">
              <a:lnSpc>
                <a:spcPct val="100000"/>
              </a:lnSpc>
              <a:buFont typeface="+mj-lt"/>
              <a:buAutoNum type="romanUcPeriod"/>
            </a:pPr>
            <a:r>
              <a:rPr lang="zh-CN" altLang="en-US" dirty="0"/>
              <a:t>硬件、网络故障</a:t>
            </a:r>
            <a:endParaRPr lang="en-US" altLang="zh-CN" dirty="0"/>
          </a:p>
          <a:p>
            <a:pPr marL="666750" indent="-400050">
              <a:lnSpc>
                <a:spcPct val="100000"/>
              </a:lnSpc>
              <a:buFont typeface="+mj-lt"/>
              <a:buAutoNum type="romanUcPeriod"/>
            </a:pPr>
            <a:r>
              <a:rPr lang="zh-CN" altLang="en-US" dirty="0"/>
              <a:t>程序</a:t>
            </a:r>
            <a:r>
              <a:rPr lang="en-US" altLang="zh-CN" dirty="0"/>
              <a:t>Bug</a:t>
            </a:r>
          </a:p>
          <a:p>
            <a:pPr marL="666750" indent="-400050">
              <a:lnSpc>
                <a:spcPct val="100000"/>
              </a:lnSpc>
              <a:buFont typeface="+mj-lt"/>
              <a:buAutoNum type="romanUcPeriod"/>
            </a:pPr>
            <a:r>
              <a:rPr lang="zh-CN" altLang="en-US" dirty="0"/>
              <a:t>程序初始化加载、缓存击穿</a:t>
            </a:r>
            <a:endParaRPr lang="en-US" altLang="zh-CN" dirty="0"/>
          </a:p>
          <a:p>
            <a:pPr marL="666750" indent="-400050">
              <a:lnSpc>
                <a:spcPct val="100000"/>
              </a:lnSpc>
              <a:buFont typeface="+mj-lt"/>
              <a:buAutoNum type="romanUcPeriod"/>
            </a:pPr>
            <a:r>
              <a:rPr lang="zh-CN" altLang="en-US" dirty="0"/>
              <a:t>用户大量请求</a:t>
            </a:r>
          </a:p>
          <a:p>
            <a:pPr>
              <a:lnSpc>
                <a:spcPct val="100000"/>
              </a:lnSpc>
            </a:pPr>
            <a:r>
              <a:rPr lang="zh-CN" altLang="en-US" dirty="0"/>
              <a:t>服务调用者不断重试</a:t>
            </a:r>
            <a:r>
              <a:rPr lang="en-US" altLang="zh-CN" dirty="0"/>
              <a:t>(</a:t>
            </a:r>
            <a:r>
              <a:rPr lang="zh-CN" altLang="en-US" dirty="0"/>
              <a:t>用户重试</a:t>
            </a:r>
            <a:r>
              <a:rPr lang="en-US" altLang="zh-CN" dirty="0"/>
              <a:t>/</a:t>
            </a:r>
            <a:r>
              <a:rPr lang="zh-CN" altLang="en-US" dirty="0"/>
              <a:t>代码逻辑重试</a:t>
            </a:r>
            <a:r>
              <a:rPr lang="en-US" altLang="zh-CN" dirty="0"/>
              <a:t>)</a:t>
            </a:r>
            <a:r>
              <a:rPr lang="zh-CN" altLang="en-US" dirty="0"/>
              <a:t>，</a:t>
            </a:r>
            <a:br>
              <a:rPr lang="en-US" altLang="zh-CN" dirty="0"/>
            </a:br>
            <a:r>
              <a:rPr lang="zh-CN" altLang="en-US" dirty="0"/>
              <a:t>瞬间积压大量请求，同步等待造成资源耗尽。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服务调用者不可用。</a:t>
            </a:r>
            <a:endParaRPr lang="zh-CN" altLang="en-US" sz="16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1582" y="1803162"/>
            <a:ext cx="4412900" cy="410705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/>
          <a:srcRect t="1" b="579"/>
          <a:stretch>
            <a:fillRect/>
          </a:stretch>
        </p:blipFill>
        <p:spPr>
          <a:xfrm>
            <a:off x="7071582" y="1173398"/>
            <a:ext cx="4101912" cy="5382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en-US" altLang="zh-CN" sz="3200" b="1" dirty="0" err="1"/>
              <a:t>Zuul</a:t>
            </a:r>
            <a:r>
              <a:rPr lang="zh-CN" altLang="en-US" sz="3200" b="1" dirty="0"/>
              <a:t>网关使用和功能接入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784395" y="1253331"/>
            <a:ext cx="11208821" cy="43513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1</a:t>
            </a:r>
            <a:r>
              <a:rPr lang="zh-CN" altLang="en-US" sz="1600" b="1" dirty="0"/>
              <a:t>、网关支持的功能：</a:t>
            </a:r>
            <a:endParaRPr lang="en-US" altLang="zh-CN" sz="1600" b="1" dirty="0"/>
          </a:p>
          <a:p>
            <a:pPr marL="539750" indent="-179388"/>
            <a:r>
              <a:rPr lang="zh-CN" altLang="en-US" sz="1600" dirty="0"/>
              <a:t>支持请求路由功能，是微服务请求的统一入口。</a:t>
            </a:r>
            <a:endParaRPr lang="en-US" altLang="zh-CN" sz="1600" dirty="0"/>
          </a:p>
          <a:p>
            <a:pPr marL="539750" indent="-179388"/>
            <a:r>
              <a:rPr lang="zh-CN" altLang="en-US" sz="1600" dirty="0"/>
              <a:t>支持限流、熔断及一定的容错重试能力</a:t>
            </a:r>
            <a:endParaRPr lang="en-US" altLang="zh-CN" sz="1600" dirty="0"/>
          </a:p>
          <a:p>
            <a:pPr marL="539750" indent="-179388">
              <a:spcAft>
                <a:spcPts val="1200"/>
              </a:spcAft>
            </a:pPr>
            <a:r>
              <a:rPr lang="zh-CN" altLang="en-US" sz="1600" dirty="0"/>
              <a:t>统一的网关鉴权、签名校验、灰度路由。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2</a:t>
            </a:r>
            <a:r>
              <a:rPr lang="zh-CN" altLang="en-US" sz="1600" b="1" dirty="0"/>
              <a:t>、请求路由使用规范：</a:t>
            </a:r>
          </a:p>
          <a:p>
            <a:pPr marL="539750" indent="-179388"/>
            <a:r>
              <a:rPr lang="zh-CN" altLang="en-US" sz="1600" dirty="0"/>
              <a:t>默认的路由规则</a:t>
            </a:r>
            <a:r>
              <a:rPr lang="en-US" altLang="zh-CN" sz="1600" dirty="0"/>
              <a:t>: </a:t>
            </a:r>
            <a:r>
              <a:rPr lang="zh-CN" altLang="en-US" sz="1600" dirty="0"/>
              <a:t>根据微服务名路由，如</a:t>
            </a:r>
            <a:r>
              <a:rPr lang="en-US" altLang="zh-CN" sz="1600" dirty="0">
                <a:hlinkClick r:id="rId3"/>
              </a:rPr>
              <a:t>http://msv-zuul-sit.hupu.io:8769/</a:t>
            </a:r>
            <a:r>
              <a:rPr lang="zh-CN" altLang="en-US" sz="1600" dirty="0">
                <a:hlinkClick r:id="rId3"/>
              </a:rPr>
              <a:t>微服务名</a:t>
            </a:r>
            <a:r>
              <a:rPr lang="en-US" altLang="zh-CN" sz="1600" dirty="0">
                <a:hlinkClick r:id="rId3"/>
              </a:rPr>
              <a:t>/</a:t>
            </a:r>
            <a:r>
              <a:rPr lang="zh-CN" altLang="en-US" sz="1600" dirty="0"/>
              <a:t>对应微服务的</a:t>
            </a:r>
            <a:r>
              <a:rPr lang="en-US" altLang="zh-CN" sz="1600" dirty="0"/>
              <a:t>path</a:t>
            </a:r>
            <a:r>
              <a:rPr lang="zh-CN" altLang="en-US" sz="1600" dirty="0"/>
              <a:t>。</a:t>
            </a:r>
            <a:r>
              <a:rPr lang="en-US" altLang="zh-CN" sz="1600" dirty="0"/>
              <a:t> 【</a:t>
            </a:r>
            <a:r>
              <a:rPr lang="zh-CN" altLang="en-US" sz="1600" dirty="0"/>
              <a:t>建议使用</a:t>
            </a:r>
            <a:r>
              <a:rPr lang="en-US" altLang="zh-CN" sz="1600" dirty="0"/>
              <a:t>】</a:t>
            </a:r>
            <a:r>
              <a:rPr lang="zh-CN" altLang="en-US" sz="1600" dirty="0"/>
              <a:t> </a:t>
            </a:r>
            <a:endParaRPr lang="en-US" altLang="zh-CN" sz="1600" dirty="0"/>
          </a:p>
          <a:p>
            <a:pPr marL="539750" indent="-179388"/>
            <a:r>
              <a:rPr lang="zh-CN" altLang="en-US" sz="1600" dirty="0"/>
              <a:t>自定义路由规则：如特殊需求，需要根据自定义路径路由，可在</a:t>
            </a:r>
            <a:r>
              <a:rPr lang="en-US" altLang="zh-CN" sz="1600" dirty="0"/>
              <a:t>Apollo</a:t>
            </a:r>
            <a:r>
              <a:rPr lang="zh-CN" altLang="en-US" sz="1600" dirty="0"/>
              <a:t>添加路由配置，并即时生效：如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           zuul.routes.games-exam1.serviceId = games-exam-</a:t>
            </a:r>
            <a:r>
              <a:rPr lang="en-US" altLang="zh-CN" sz="1600" dirty="0" err="1"/>
              <a:t>msv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           zuul.routes.games-exam1.path = /exam/**</a:t>
            </a:r>
          </a:p>
          <a:p>
            <a:pPr marL="0" indent="0">
              <a:spcAft>
                <a:spcPts val="1200"/>
              </a:spcAft>
              <a:buFont typeface="Arial" panose="020B0604020202090204" pitchFamily="34" charset="0"/>
              <a:buNone/>
            </a:pPr>
            <a:r>
              <a:rPr lang="en-US" altLang="zh-CN" sz="1600" dirty="0"/>
              <a:t>           zuul.routes.games-exam1.stripPrefix = false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、网关鉴权、签名校验规范：</a:t>
            </a:r>
          </a:p>
          <a:p>
            <a:pPr marL="539750" indent="-179388"/>
            <a:r>
              <a:rPr lang="zh-CN" altLang="en-US" sz="1600" dirty="0"/>
              <a:t>建议统一使用网关进行鉴权、和签名校验，避免在内部微服务处理用户鉴权。</a:t>
            </a:r>
          </a:p>
          <a:p>
            <a:pPr marL="539750" indent="-179388"/>
            <a:r>
              <a:rPr lang="zh-CN" altLang="en-US" sz="1600" dirty="0"/>
              <a:t>建议每个项目组 使用不同的鉴权、签名秘钥。</a:t>
            </a:r>
          </a:p>
          <a:p>
            <a:pPr marL="539750" indent="-179388"/>
            <a:r>
              <a:rPr lang="zh-CN" altLang="en-US" sz="1600" dirty="0"/>
              <a:t>接入方式查看：</a:t>
            </a:r>
            <a:r>
              <a:rPr lang="en-US" altLang="zh-CN" sz="1600" dirty="0">
                <a:hlinkClick r:id="rId4"/>
              </a:rPr>
              <a:t>http://docs.hupu.io/pages/viewpage.action?pageId=10584505</a:t>
            </a:r>
            <a:r>
              <a:rPr lang="en-US" altLang="zh-CN" sz="1600" dirty="0"/>
              <a:t> </a:t>
            </a:r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4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315450" y="3727365"/>
            <a:ext cx="5757280" cy="895350"/>
          </a:xfrm>
        </p:spPr>
        <p:txBody>
          <a:bodyPr>
            <a:normAutofit/>
          </a:bodyPr>
          <a:lstStyle/>
          <a:p>
            <a:r>
              <a:rPr lang="zh-CN" altLang="en-US" sz="3600" dirty="0"/>
              <a:t>虎扑微服务治理实践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32985" y="268505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432985" y="3852636"/>
            <a:ext cx="1023516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roup"/>
          <p:cNvGrpSpPr/>
          <p:nvPr/>
        </p:nvGrpSpPr>
        <p:grpSpPr>
          <a:xfrm>
            <a:off x="1739884" y="204711"/>
            <a:ext cx="2912794" cy="2861987"/>
            <a:chOff x="0" y="0"/>
            <a:chExt cx="5825586" cy="5723973"/>
          </a:xfrm>
        </p:grpSpPr>
        <p:pic>
          <p:nvPicPr>
            <p:cNvPr id="127" name="拼图小人.png" descr="拼图小人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5825586" cy="5375427"/>
            </a:xfrm>
            <a:prstGeom prst="rect">
              <a:avLst/>
            </a:prstGeom>
            <a:ln w="12700" cap="flat">
              <a:noFill/>
              <a:miter lim="400000"/>
              <a:headEnd/>
              <a:tailEnd/>
            </a:ln>
            <a:effectLst/>
          </p:spPr>
        </p:pic>
        <p:sp>
          <p:nvSpPr>
            <p:cNvPr id="128" name="msv-foundation"/>
            <p:cNvSpPr txBox="1"/>
            <p:nvPr/>
          </p:nvSpPr>
          <p:spPr>
            <a:xfrm>
              <a:off x="1427084" y="5344381"/>
              <a:ext cx="1865895" cy="3795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900">
                  <a:latin typeface="+mj-ea"/>
                  <a:ea typeface="+mj-ea"/>
                </a:rPr>
                <a:t>msv-foundation</a:t>
              </a:r>
            </a:p>
          </p:txBody>
        </p:sp>
      </p:grpSp>
      <p:sp>
        <p:nvSpPr>
          <p:cNvPr id="130" name="业务代码的…"/>
          <p:cNvSpPr/>
          <p:nvPr/>
        </p:nvSpPr>
        <p:spPr>
          <a:xfrm>
            <a:off x="4521200" y="237251"/>
            <a:ext cx="1654175" cy="692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" y="0"/>
                </a:moveTo>
                <a:cubicBezTo>
                  <a:pt x="1844" y="0"/>
                  <a:pt x="1658" y="443"/>
                  <a:pt x="1658" y="990"/>
                </a:cubicBezTo>
                <a:lnTo>
                  <a:pt x="1658" y="15009"/>
                </a:lnTo>
                <a:lnTo>
                  <a:pt x="0" y="16989"/>
                </a:lnTo>
                <a:lnTo>
                  <a:pt x="1658" y="18970"/>
                </a:lnTo>
                <a:lnTo>
                  <a:pt x="1658" y="20610"/>
                </a:lnTo>
                <a:cubicBezTo>
                  <a:pt x="1658" y="21157"/>
                  <a:pt x="1844" y="21600"/>
                  <a:pt x="2073" y="21600"/>
                </a:cubicBezTo>
                <a:lnTo>
                  <a:pt x="21185" y="21600"/>
                </a:lnTo>
                <a:cubicBezTo>
                  <a:pt x="21414" y="21600"/>
                  <a:pt x="21600" y="21157"/>
                  <a:pt x="21600" y="20610"/>
                </a:cubicBezTo>
                <a:lnTo>
                  <a:pt x="21600" y="990"/>
                </a:lnTo>
                <a:cubicBezTo>
                  <a:pt x="21600" y="443"/>
                  <a:pt x="21414" y="0"/>
                  <a:pt x="21185" y="0"/>
                </a:cubicBezTo>
                <a:lnTo>
                  <a:pt x="2073" y="0"/>
                </a:lnTo>
                <a:close/>
              </a:path>
            </a:pathLst>
          </a:custGeom>
          <a:solidFill>
            <a:srgbClr val="CDCDCD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179388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sz="1600" b="1" dirty="0" err="1">
                <a:solidFill>
                  <a:schemeClr val="bg1"/>
                </a:solidFill>
                <a:latin typeface="+mj-ea"/>
                <a:ea typeface="+mj-ea"/>
              </a:rPr>
              <a:t>业务代码的</a:t>
            </a:r>
            <a:endParaRPr sz="1600" b="1" dirty="0">
              <a:solidFill>
                <a:schemeClr val="bg1"/>
              </a:solidFill>
              <a:latin typeface="+mj-ea"/>
              <a:ea typeface="+mj-ea"/>
            </a:endParaRPr>
          </a:p>
          <a:p>
            <a:pPr marL="179388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sz="1600" b="1" dirty="0" err="1">
                <a:solidFill>
                  <a:schemeClr val="bg1"/>
                </a:solidFill>
                <a:latin typeface="+mj-ea"/>
                <a:ea typeface="+mj-ea"/>
              </a:rPr>
              <a:t>最后一块拼图</a:t>
            </a:r>
            <a:endParaRPr sz="160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135" name="Group"/>
          <p:cNvGrpSpPr/>
          <p:nvPr/>
        </p:nvGrpSpPr>
        <p:grpSpPr>
          <a:xfrm>
            <a:off x="363602" y="3181514"/>
            <a:ext cx="3567844" cy="3237702"/>
            <a:chOff x="0" y="0"/>
            <a:chExt cx="7135687" cy="6475403"/>
          </a:xfrm>
        </p:grpSpPr>
        <p:grpSp>
          <p:nvGrpSpPr>
            <p:cNvPr id="133" name="Group"/>
            <p:cNvGrpSpPr/>
            <p:nvPr/>
          </p:nvGrpSpPr>
          <p:grpSpPr>
            <a:xfrm>
              <a:off x="0" y="0"/>
              <a:ext cx="4201341" cy="6475403"/>
              <a:chOff x="0" y="0"/>
              <a:chExt cx="4201340" cy="6475402"/>
            </a:xfrm>
          </p:grpSpPr>
          <p:pic>
            <p:nvPicPr>
              <p:cNvPr id="131" name="球上思考.png" descr="球上思考.png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4201340" cy="6130455"/>
              </a:xfrm>
              <a:prstGeom prst="rect">
                <a:avLst/>
              </a:prstGeom>
              <a:ln w="12700" cap="flat">
                <a:noFill/>
                <a:miter lim="400000"/>
                <a:headEnd/>
                <a:tailEnd/>
              </a:ln>
              <a:effectLst/>
            </p:spPr>
          </p:pic>
          <p:sp>
            <p:nvSpPr>
              <p:cNvPr id="132" name="新同事"/>
              <p:cNvSpPr txBox="1"/>
              <p:nvPr/>
            </p:nvSpPr>
            <p:spPr>
              <a:xfrm>
                <a:off x="1472019" y="6096943"/>
                <a:ext cx="787400" cy="3784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txBody>
              <a:bodyPr wrap="none" lIns="25400" tIns="25400" rIns="25400" bIns="25400" numCol="1" anchor="ctr">
                <a:spAutoFit/>
              </a:bodyPr>
              <a:lstStyle/>
              <a:p>
                <a:r>
                  <a:rPr sz="900">
                    <a:latin typeface="+mj-ea"/>
                    <a:ea typeface="+mj-ea"/>
                  </a:rPr>
                  <a:t>新同事</a:t>
                </a:r>
              </a:p>
            </p:txBody>
          </p:sp>
        </p:grpSp>
        <p:sp>
          <p:nvSpPr>
            <p:cNvPr id="134" name="好多版本呀，我该接哪个？"/>
            <p:cNvSpPr/>
            <p:nvPr/>
          </p:nvSpPr>
          <p:spPr>
            <a:xfrm>
              <a:off x="3595415" y="636496"/>
              <a:ext cx="3540272" cy="17565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1" y="0"/>
                  </a:moveTo>
                  <a:cubicBezTo>
                    <a:pt x="1709" y="0"/>
                    <a:pt x="1537" y="484"/>
                    <a:pt x="1537" y="1080"/>
                  </a:cubicBezTo>
                  <a:lnTo>
                    <a:pt x="1537" y="8640"/>
                  </a:lnTo>
                  <a:lnTo>
                    <a:pt x="0" y="10800"/>
                  </a:lnTo>
                  <a:lnTo>
                    <a:pt x="1537" y="12960"/>
                  </a:lnTo>
                  <a:lnTo>
                    <a:pt x="1537" y="20520"/>
                  </a:lnTo>
                  <a:cubicBezTo>
                    <a:pt x="1537" y="21116"/>
                    <a:pt x="1709" y="21600"/>
                    <a:pt x="1921" y="21600"/>
                  </a:cubicBezTo>
                  <a:lnTo>
                    <a:pt x="21216" y="21600"/>
                  </a:lnTo>
                  <a:cubicBezTo>
                    <a:pt x="21428" y="21600"/>
                    <a:pt x="21600" y="21116"/>
                    <a:pt x="21600" y="20520"/>
                  </a:cubicBezTo>
                  <a:lnTo>
                    <a:pt x="21600" y="1080"/>
                  </a:lnTo>
                  <a:cubicBezTo>
                    <a:pt x="21600" y="484"/>
                    <a:pt x="21428" y="0"/>
                    <a:pt x="21216" y="0"/>
                  </a:cubicBezTo>
                  <a:lnTo>
                    <a:pt x="1921" y="0"/>
                  </a:lnTo>
                  <a:close/>
                </a:path>
              </a:pathLst>
            </a:custGeom>
            <a:solidFill>
              <a:srgbClr val="B8BCC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marL="263525"/>
              <a:r>
                <a:rPr sz="1600" b="1" dirty="0" err="1">
                  <a:solidFill>
                    <a:schemeClr val="bg1"/>
                  </a:solidFill>
                  <a:latin typeface="+mj-ea"/>
                  <a:ea typeface="+mj-ea"/>
                </a:rPr>
                <a:t>好多版本呀，我该接哪个</a:t>
              </a:r>
              <a:r>
                <a:rPr sz="1600" b="1" dirty="0">
                  <a:solidFill>
                    <a:schemeClr val="bg1"/>
                  </a:solidFill>
                  <a:latin typeface="+mj-ea"/>
                  <a:ea typeface="+mj-ea"/>
                </a:rPr>
                <a:t>？</a:t>
              </a:r>
            </a:p>
          </p:txBody>
        </p:sp>
      </p:grpSp>
      <p:grpSp>
        <p:nvGrpSpPr>
          <p:cNvPr id="140" name="Group"/>
          <p:cNvGrpSpPr/>
          <p:nvPr/>
        </p:nvGrpSpPr>
        <p:grpSpPr>
          <a:xfrm>
            <a:off x="4766490" y="2512157"/>
            <a:ext cx="3251896" cy="3868959"/>
            <a:chOff x="0" y="0"/>
            <a:chExt cx="6503790" cy="7737917"/>
          </a:xfrm>
        </p:grpSpPr>
        <p:grpSp>
          <p:nvGrpSpPr>
            <p:cNvPr id="138" name="Group"/>
            <p:cNvGrpSpPr/>
            <p:nvPr/>
          </p:nvGrpSpPr>
          <p:grpSpPr>
            <a:xfrm>
              <a:off x="0" y="2842964"/>
              <a:ext cx="3081506" cy="4894953"/>
              <a:chOff x="0" y="0"/>
              <a:chExt cx="3081505" cy="4894952"/>
            </a:xfrm>
          </p:grpSpPr>
          <p:pic>
            <p:nvPicPr>
              <p:cNvPr id="136" name="喇叭小人.png" descr="喇叭小人.png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0" y="0"/>
                <a:ext cx="3081505" cy="4400922"/>
              </a:xfrm>
              <a:prstGeom prst="rect">
                <a:avLst/>
              </a:prstGeom>
              <a:ln w="12700" cap="flat">
                <a:noFill/>
                <a:miter lim="400000"/>
                <a:headEnd/>
                <a:tailEnd/>
              </a:ln>
              <a:effectLst/>
            </p:spPr>
          </p:pic>
          <p:sp>
            <p:nvSpPr>
              <p:cNvPr id="137" name="服务治理开发"/>
              <p:cNvSpPr txBox="1"/>
              <p:nvPr/>
            </p:nvSpPr>
            <p:spPr>
              <a:xfrm>
                <a:off x="340602" y="4516493"/>
                <a:ext cx="1473199" cy="3784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txBody>
              <a:bodyPr wrap="none" lIns="25400" tIns="25400" rIns="25400" bIns="25400" numCol="1" anchor="ctr">
                <a:spAutoFit/>
              </a:bodyPr>
              <a:lstStyle/>
              <a:p>
                <a:r>
                  <a:rPr sz="900">
                    <a:latin typeface="+mj-ea"/>
                    <a:ea typeface="+mj-ea"/>
                  </a:rPr>
                  <a:t>服务治理开发</a:t>
                </a:r>
              </a:p>
            </p:txBody>
          </p:sp>
        </p:grpSp>
        <p:sp>
          <p:nvSpPr>
            <p:cNvPr id="139" name="兄弟们，版本升级了加入了XX功能！赶快升级体验。嘿嘿😁"/>
            <p:cNvSpPr/>
            <p:nvPr/>
          </p:nvSpPr>
          <p:spPr>
            <a:xfrm>
              <a:off x="954604" y="0"/>
              <a:ext cx="5549186" cy="2620294"/>
            </a:xfrm>
            <a:prstGeom prst="wedgeEllipseCallout">
              <a:avLst>
                <a:gd name="adj1" fmla="val -19551"/>
                <a:gd name="adj2" fmla="val 84946"/>
              </a:avLst>
            </a:prstGeom>
            <a:solidFill>
              <a:srgbClr val="9BD86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r>
                <a:rPr sz="1600">
                  <a:latin typeface="+mj-ea"/>
                  <a:ea typeface="+mj-ea"/>
                </a:rPr>
                <a:t>兄弟们，版本升级了加入了XX功能！赶快升级体验。嘿嘿😁</a:t>
              </a:r>
            </a:p>
          </p:txBody>
        </p:sp>
      </p:grpSp>
      <p:grpSp>
        <p:nvGrpSpPr>
          <p:cNvPr id="145" name="Group"/>
          <p:cNvGrpSpPr/>
          <p:nvPr/>
        </p:nvGrpSpPr>
        <p:grpSpPr>
          <a:xfrm>
            <a:off x="8736462" y="1083042"/>
            <a:ext cx="3385689" cy="4513214"/>
            <a:chOff x="0" y="1134110"/>
            <a:chExt cx="6771377" cy="9026428"/>
          </a:xfrm>
        </p:grpSpPr>
        <p:grpSp>
          <p:nvGrpSpPr>
            <p:cNvPr id="143" name="Group"/>
            <p:cNvGrpSpPr/>
            <p:nvPr/>
          </p:nvGrpSpPr>
          <p:grpSpPr>
            <a:xfrm>
              <a:off x="0" y="4030081"/>
              <a:ext cx="5549093" cy="6130457"/>
              <a:chOff x="0" y="1134110"/>
              <a:chExt cx="5549092" cy="6130455"/>
            </a:xfrm>
          </p:grpSpPr>
          <p:pic>
            <p:nvPicPr>
              <p:cNvPr id="141" name="我拒绝.png" descr="我拒绝.png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0" y="1134110"/>
                <a:ext cx="5549092" cy="6130455"/>
              </a:xfrm>
              <a:prstGeom prst="rect">
                <a:avLst/>
              </a:prstGeom>
              <a:ln w="12700" cap="flat">
                <a:noFill/>
                <a:miter lim="400000"/>
                <a:headEnd/>
                <a:tailEnd/>
              </a:ln>
              <a:effectLst/>
            </p:spPr>
          </p:pic>
          <p:sp>
            <p:nvSpPr>
              <p:cNvPr id="142" name="业务方"/>
              <p:cNvSpPr txBox="1"/>
              <p:nvPr/>
            </p:nvSpPr>
            <p:spPr>
              <a:xfrm>
                <a:off x="2145895" y="6754024"/>
                <a:ext cx="787400" cy="3784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txBody>
              <a:bodyPr wrap="none" lIns="25400" tIns="25400" rIns="25400" bIns="25400" numCol="1" anchor="ctr">
                <a:spAutoFit/>
              </a:bodyPr>
              <a:lstStyle/>
              <a:p>
                <a:r>
                  <a:rPr sz="900">
                    <a:latin typeface="+mj-ea"/>
                    <a:ea typeface="+mj-ea"/>
                  </a:rPr>
                  <a:t>业务方</a:t>
                </a:r>
              </a:p>
            </p:txBody>
          </p:sp>
        </p:grpSp>
        <p:sp>
          <p:nvSpPr>
            <p:cNvPr id="144" name="怎么又要升级？…"/>
            <p:cNvSpPr/>
            <p:nvPr/>
          </p:nvSpPr>
          <p:spPr>
            <a:xfrm>
              <a:off x="2638584" y="1134110"/>
              <a:ext cx="4132793" cy="3133626"/>
            </a:xfrm>
            <a:prstGeom prst="wedgeEllipseCallout">
              <a:avLst>
                <a:gd name="adj1" fmla="val -49388"/>
                <a:gd name="adj2" fmla="val 62922"/>
              </a:avLst>
            </a:prstGeom>
            <a:solidFill>
              <a:srgbClr val="BB271B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 dirty="0">
                <a:latin typeface="+mj-ea"/>
                <a:ea typeface="+mj-ea"/>
              </a:endParaRPr>
            </a:p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r>
                <a:rPr sz="1600" dirty="0" err="1">
                  <a:latin typeface="+mj-ea"/>
                  <a:ea typeface="+mj-ea"/>
                </a:rPr>
                <a:t>怎么又要升级</a:t>
              </a:r>
              <a:r>
                <a:rPr sz="1600" dirty="0">
                  <a:latin typeface="+mj-ea"/>
                  <a:ea typeface="+mj-ea"/>
                </a:rPr>
                <a:t>？</a:t>
              </a:r>
            </a:p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r>
                <a:rPr sz="1600" dirty="0" err="1">
                  <a:latin typeface="+mj-ea"/>
                  <a:ea typeface="+mj-ea"/>
                </a:rPr>
                <a:t>不是刚升级过</a:t>
              </a:r>
              <a:r>
                <a:rPr sz="1600" dirty="0">
                  <a:latin typeface="+mj-ea"/>
                  <a:ea typeface="+mj-ea"/>
                </a:rPr>
                <a:t>？</a:t>
              </a:r>
            </a:p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r>
                <a:rPr sz="1600" dirty="0" err="1">
                  <a:latin typeface="+mj-ea"/>
                  <a:ea typeface="+mj-ea"/>
                </a:rPr>
                <a:t>我可以拒绝吗</a:t>
              </a:r>
              <a:r>
                <a:rPr sz="1600" dirty="0">
                  <a:latin typeface="+mj-ea"/>
                  <a:ea typeface="+mj-ea"/>
                </a:rPr>
                <a:t>？</a:t>
              </a: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indefinite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dur="indefinite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1" fill="hold" grpId="3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dur="indefinite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1" bldLvl="0" animBg="1" advAuto="0"/>
      <p:bldP spid="140" grpId="2" bldLvl="0" animBg="1" advAuto="0"/>
      <p:bldP spid="145" grpId="3" bldLvl="0" animBg="1" advAuto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微服务治理 </a:t>
            </a:r>
            <a:r>
              <a:rPr lang="en-US" altLang="zh-CN" sz="3200" dirty="0"/>
              <a:t>- </a:t>
            </a:r>
            <a:r>
              <a:rPr lang="zh-CN" altLang="en-US" sz="3200" dirty="0"/>
              <a:t>我们要做的</a:t>
            </a:r>
            <a:endParaRPr lang="en-US" altLang="zh-CN" sz="3200" b="1" dirty="0"/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4F328A8A-9BBC-4E78-A557-F5EE40815B2F}"/>
              </a:ext>
            </a:extLst>
          </p:cNvPr>
          <p:cNvSpPr/>
          <p:nvPr/>
        </p:nvSpPr>
        <p:spPr>
          <a:xfrm>
            <a:off x="1158240" y="2212975"/>
            <a:ext cx="4077335" cy="2795905"/>
          </a:xfrm>
          <a:prstGeom prst="rect">
            <a:avLst/>
          </a:prstGeom>
          <a:solidFill>
            <a:srgbClr val="00B0F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6" name="APM">
            <a:extLst>
              <a:ext uri="{FF2B5EF4-FFF2-40B4-BE49-F238E27FC236}">
                <a16:creationId xmlns:a16="http://schemas.microsoft.com/office/drawing/2014/main" id="{97A5E9B9-439B-4E18-84A0-9A0A6AAD94F1}"/>
              </a:ext>
            </a:extLst>
          </p:cNvPr>
          <p:cNvSpPr txBox="1"/>
          <p:nvPr/>
        </p:nvSpPr>
        <p:spPr>
          <a:xfrm>
            <a:off x="1462949" y="2616116"/>
            <a:ext cx="931545" cy="54292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3200"/>
              <a:t>APM</a:t>
            </a: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FD99BC47-41AB-4223-9CF5-54702DAEEE44}"/>
              </a:ext>
            </a:extLst>
          </p:cNvPr>
          <p:cNvSpPr/>
          <p:nvPr/>
        </p:nvSpPr>
        <p:spPr>
          <a:xfrm>
            <a:off x="1895448" y="3565428"/>
            <a:ext cx="2602707" cy="1059112"/>
          </a:xfrm>
          <a:prstGeom prst="rect">
            <a:avLst/>
          </a:prstGeom>
          <a:solidFill>
            <a:srgbClr val="92D05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8" name="Java Agent">
            <a:extLst>
              <a:ext uri="{FF2B5EF4-FFF2-40B4-BE49-F238E27FC236}">
                <a16:creationId xmlns:a16="http://schemas.microsoft.com/office/drawing/2014/main" id="{4FA2650B-E86A-4A59-BCD9-1F6E1080F78C}"/>
              </a:ext>
            </a:extLst>
          </p:cNvPr>
          <p:cNvSpPr txBox="1"/>
          <p:nvPr/>
        </p:nvSpPr>
        <p:spPr>
          <a:xfrm>
            <a:off x="2663376" y="4116926"/>
            <a:ext cx="1067435" cy="2965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rPr sz="1600"/>
              <a:t>Java Agent</a:t>
            </a:r>
          </a:p>
        </p:txBody>
      </p:sp>
      <p:sp>
        <p:nvSpPr>
          <p:cNvPr id="9" name="Byte Buddy">
            <a:extLst>
              <a:ext uri="{FF2B5EF4-FFF2-40B4-BE49-F238E27FC236}">
                <a16:creationId xmlns:a16="http://schemas.microsoft.com/office/drawing/2014/main" id="{AC2FD504-442B-440E-93B7-5B4108B10C9C}"/>
              </a:ext>
            </a:extLst>
          </p:cNvPr>
          <p:cNvSpPr txBox="1"/>
          <p:nvPr/>
        </p:nvSpPr>
        <p:spPr>
          <a:xfrm>
            <a:off x="2501000" y="3628929"/>
            <a:ext cx="1348740" cy="358140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2000"/>
              <a:t>Byte Buddy</a:t>
            </a:r>
          </a:p>
        </p:txBody>
      </p:sp>
      <p:sp>
        <p:nvSpPr>
          <p:cNvPr id="10" name="服务治理">
            <a:extLst>
              <a:ext uri="{FF2B5EF4-FFF2-40B4-BE49-F238E27FC236}">
                <a16:creationId xmlns:a16="http://schemas.microsoft.com/office/drawing/2014/main" id="{AC5AA715-2A46-4285-90F4-9651581C23C5}"/>
              </a:ext>
            </a:extLst>
          </p:cNvPr>
          <p:cNvSpPr txBox="1"/>
          <p:nvPr/>
        </p:nvSpPr>
        <p:spPr>
          <a:xfrm>
            <a:off x="3110102" y="2616115"/>
            <a:ext cx="1676400" cy="54292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sz="3200"/>
              <a:t>服务治理</a:t>
            </a:r>
          </a:p>
        </p:txBody>
      </p:sp>
      <p:sp>
        <p:nvSpPr>
          <p:cNvPr id="11" name="Caesar">
            <a:extLst>
              <a:ext uri="{FF2B5EF4-FFF2-40B4-BE49-F238E27FC236}">
                <a16:creationId xmlns:a16="http://schemas.microsoft.com/office/drawing/2014/main" id="{FA2A09D5-985A-41CB-8B4A-29B1F4C07BB8}"/>
              </a:ext>
            </a:extLst>
          </p:cNvPr>
          <p:cNvSpPr txBox="1"/>
          <p:nvPr/>
        </p:nvSpPr>
        <p:spPr>
          <a:xfrm>
            <a:off x="2501352" y="1467263"/>
            <a:ext cx="1095375" cy="44259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5100">
                <a:solidFill>
                  <a:srgbClr val="479FF8"/>
                </a:solidFill>
              </a:defRPr>
            </a:lvl1pPr>
          </a:lstStyle>
          <a:p>
            <a:r>
              <a:rPr sz="2550"/>
              <a:t>Caesar</a:t>
            </a:r>
          </a:p>
        </p:txBody>
      </p:sp>
      <p:grpSp>
        <p:nvGrpSpPr>
          <p:cNvPr id="12" name="Group">
            <a:extLst>
              <a:ext uri="{FF2B5EF4-FFF2-40B4-BE49-F238E27FC236}">
                <a16:creationId xmlns:a16="http://schemas.microsoft.com/office/drawing/2014/main" id="{7B6A8A59-228B-4EF2-9BE0-0627CDF7C294}"/>
              </a:ext>
            </a:extLst>
          </p:cNvPr>
          <p:cNvGrpSpPr/>
          <p:nvPr/>
        </p:nvGrpSpPr>
        <p:grpSpPr>
          <a:xfrm>
            <a:off x="6129020" y="1144270"/>
            <a:ext cx="5407660" cy="3262629"/>
            <a:chOff x="0" y="0"/>
            <a:chExt cx="4493453" cy="3234018"/>
          </a:xfrm>
        </p:grpSpPr>
        <p:sp>
          <p:nvSpPr>
            <p:cNvPr id="13" name="原则">
              <a:extLst>
                <a:ext uri="{FF2B5EF4-FFF2-40B4-BE49-F238E27FC236}">
                  <a16:creationId xmlns:a16="http://schemas.microsoft.com/office/drawing/2014/main" id="{5FC5E263-BC8D-4774-98E3-7995644DCC4D}"/>
                </a:ext>
              </a:extLst>
            </p:cNvPr>
            <p:cNvSpPr txBox="1"/>
            <p:nvPr/>
          </p:nvSpPr>
          <p:spPr>
            <a:xfrm>
              <a:off x="1138007" y="310558"/>
              <a:ext cx="1143000" cy="4771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>
              <a:lvl1pPr>
                <a:defRPr sz="4100"/>
              </a:lvl1pPr>
            </a:lstStyle>
            <a:p>
              <a:r>
                <a:rPr sz="2800" dirty="0" err="1"/>
                <a:t>原则</a:t>
              </a:r>
              <a:r>
                <a:rPr lang="zh-CN" sz="2800" dirty="0"/>
                <a:t>：</a:t>
              </a:r>
            </a:p>
          </p:txBody>
        </p:sp>
        <p:sp>
          <p:nvSpPr>
            <p:cNvPr id="14" name="Atom">
              <a:extLst>
                <a:ext uri="{FF2B5EF4-FFF2-40B4-BE49-F238E27FC236}">
                  <a16:creationId xmlns:a16="http://schemas.microsoft.com/office/drawing/2014/main" id="{019A13D1-4A08-47A6-955A-3FC3E1233221}"/>
                </a:ext>
              </a:extLst>
            </p:cNvPr>
            <p:cNvSpPr/>
            <p:nvPr/>
          </p:nvSpPr>
          <p:spPr>
            <a:xfrm>
              <a:off x="0" y="0"/>
              <a:ext cx="974980" cy="1098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48" h="21600" extrusionOk="0">
                  <a:moveTo>
                    <a:pt x="10524" y="0"/>
                  </a:moveTo>
                  <a:cubicBezTo>
                    <a:pt x="9635" y="0"/>
                    <a:pt x="8359" y="577"/>
                    <a:pt x="7326" y="3327"/>
                  </a:cubicBezTo>
                  <a:cubicBezTo>
                    <a:pt x="7137" y="3832"/>
                    <a:pt x="6970" y="4380"/>
                    <a:pt x="6824" y="4961"/>
                  </a:cubicBezTo>
                  <a:cubicBezTo>
                    <a:pt x="6200" y="4785"/>
                    <a:pt x="5595" y="4643"/>
                    <a:pt x="5020" y="4540"/>
                  </a:cubicBezTo>
                  <a:cubicBezTo>
                    <a:pt x="1890" y="3980"/>
                    <a:pt x="703" y="4698"/>
                    <a:pt x="258" y="5400"/>
                  </a:cubicBezTo>
                  <a:cubicBezTo>
                    <a:pt x="-186" y="6101"/>
                    <a:pt x="-276" y="7396"/>
                    <a:pt x="1822" y="9586"/>
                  </a:cubicBezTo>
                  <a:cubicBezTo>
                    <a:pt x="2207" y="9988"/>
                    <a:pt x="2643" y="10394"/>
                    <a:pt x="3123" y="10799"/>
                  </a:cubicBezTo>
                  <a:cubicBezTo>
                    <a:pt x="2644" y="11204"/>
                    <a:pt x="2207" y="11610"/>
                    <a:pt x="1822" y="12013"/>
                  </a:cubicBezTo>
                  <a:cubicBezTo>
                    <a:pt x="-276" y="14202"/>
                    <a:pt x="-186" y="15499"/>
                    <a:pt x="258" y="16200"/>
                  </a:cubicBezTo>
                  <a:cubicBezTo>
                    <a:pt x="591" y="16726"/>
                    <a:pt x="1341" y="17260"/>
                    <a:pt x="3011" y="17260"/>
                  </a:cubicBezTo>
                  <a:cubicBezTo>
                    <a:pt x="3571" y="17260"/>
                    <a:pt x="4234" y="17200"/>
                    <a:pt x="5020" y="17060"/>
                  </a:cubicBezTo>
                  <a:cubicBezTo>
                    <a:pt x="5595" y="16957"/>
                    <a:pt x="6200" y="16815"/>
                    <a:pt x="6824" y="16639"/>
                  </a:cubicBezTo>
                  <a:cubicBezTo>
                    <a:pt x="6970" y="17220"/>
                    <a:pt x="7137" y="17766"/>
                    <a:pt x="7326" y="18271"/>
                  </a:cubicBezTo>
                  <a:cubicBezTo>
                    <a:pt x="8359" y="21022"/>
                    <a:pt x="9635" y="21600"/>
                    <a:pt x="10524" y="21600"/>
                  </a:cubicBezTo>
                  <a:cubicBezTo>
                    <a:pt x="11413" y="21600"/>
                    <a:pt x="12689" y="21022"/>
                    <a:pt x="13722" y="18271"/>
                  </a:cubicBezTo>
                  <a:cubicBezTo>
                    <a:pt x="13911" y="17766"/>
                    <a:pt x="14080" y="17220"/>
                    <a:pt x="14226" y="16639"/>
                  </a:cubicBezTo>
                  <a:cubicBezTo>
                    <a:pt x="14850" y="16815"/>
                    <a:pt x="15453" y="16957"/>
                    <a:pt x="16028" y="17060"/>
                  </a:cubicBezTo>
                  <a:cubicBezTo>
                    <a:pt x="16814" y="17200"/>
                    <a:pt x="17479" y="17260"/>
                    <a:pt x="18038" y="17260"/>
                  </a:cubicBezTo>
                  <a:cubicBezTo>
                    <a:pt x="19709" y="17260"/>
                    <a:pt x="20457" y="16726"/>
                    <a:pt x="20790" y="16200"/>
                  </a:cubicBezTo>
                  <a:cubicBezTo>
                    <a:pt x="21234" y="15499"/>
                    <a:pt x="21324" y="14202"/>
                    <a:pt x="19226" y="12013"/>
                  </a:cubicBezTo>
                  <a:cubicBezTo>
                    <a:pt x="18841" y="11610"/>
                    <a:pt x="18405" y="11204"/>
                    <a:pt x="17925" y="10799"/>
                  </a:cubicBezTo>
                  <a:cubicBezTo>
                    <a:pt x="18404" y="10394"/>
                    <a:pt x="18841" y="9988"/>
                    <a:pt x="19226" y="9586"/>
                  </a:cubicBezTo>
                  <a:cubicBezTo>
                    <a:pt x="21324" y="7396"/>
                    <a:pt x="21234" y="6101"/>
                    <a:pt x="20790" y="5400"/>
                  </a:cubicBezTo>
                  <a:cubicBezTo>
                    <a:pt x="20345" y="4698"/>
                    <a:pt x="19158" y="3980"/>
                    <a:pt x="16028" y="4540"/>
                  </a:cubicBezTo>
                  <a:cubicBezTo>
                    <a:pt x="15453" y="4643"/>
                    <a:pt x="14850" y="4785"/>
                    <a:pt x="14226" y="4961"/>
                  </a:cubicBezTo>
                  <a:cubicBezTo>
                    <a:pt x="14080" y="4380"/>
                    <a:pt x="13911" y="3832"/>
                    <a:pt x="13722" y="3327"/>
                  </a:cubicBezTo>
                  <a:cubicBezTo>
                    <a:pt x="12689" y="577"/>
                    <a:pt x="11413" y="0"/>
                    <a:pt x="10524" y="0"/>
                  </a:cubicBezTo>
                  <a:close/>
                  <a:moveTo>
                    <a:pt x="10524" y="856"/>
                  </a:moveTo>
                  <a:cubicBezTo>
                    <a:pt x="11556" y="856"/>
                    <a:pt x="12661" y="2513"/>
                    <a:pt x="13329" y="5231"/>
                  </a:cubicBezTo>
                  <a:cubicBezTo>
                    <a:pt x="12420" y="5525"/>
                    <a:pt x="11478" y="5885"/>
                    <a:pt x="10524" y="6304"/>
                  </a:cubicBezTo>
                  <a:cubicBezTo>
                    <a:pt x="9571" y="5885"/>
                    <a:pt x="8628" y="5525"/>
                    <a:pt x="7719" y="5231"/>
                  </a:cubicBezTo>
                  <a:cubicBezTo>
                    <a:pt x="8386" y="2513"/>
                    <a:pt x="9492" y="856"/>
                    <a:pt x="10524" y="856"/>
                  </a:cubicBezTo>
                  <a:close/>
                  <a:moveTo>
                    <a:pt x="3015" y="5197"/>
                  </a:moveTo>
                  <a:cubicBezTo>
                    <a:pt x="3968" y="5197"/>
                    <a:pt x="5206" y="5394"/>
                    <a:pt x="6633" y="5801"/>
                  </a:cubicBezTo>
                  <a:cubicBezTo>
                    <a:pt x="6458" y="6666"/>
                    <a:pt x="6330" y="7591"/>
                    <a:pt x="6252" y="8553"/>
                  </a:cubicBezTo>
                  <a:cubicBezTo>
                    <a:pt x="5377" y="9095"/>
                    <a:pt x="4562" y="9658"/>
                    <a:pt x="3828" y="10229"/>
                  </a:cubicBezTo>
                  <a:cubicBezTo>
                    <a:pt x="3348" y="9826"/>
                    <a:pt x="2912" y="9422"/>
                    <a:pt x="2530" y="9023"/>
                  </a:cubicBezTo>
                  <a:cubicBezTo>
                    <a:pt x="1217" y="7653"/>
                    <a:pt x="672" y="6459"/>
                    <a:pt x="1072" y="5828"/>
                  </a:cubicBezTo>
                  <a:cubicBezTo>
                    <a:pt x="1335" y="5413"/>
                    <a:pt x="2020" y="5197"/>
                    <a:pt x="3015" y="5197"/>
                  </a:cubicBezTo>
                  <a:close/>
                  <a:moveTo>
                    <a:pt x="18035" y="5197"/>
                  </a:moveTo>
                  <a:cubicBezTo>
                    <a:pt x="19030" y="5197"/>
                    <a:pt x="19713" y="5413"/>
                    <a:pt x="19976" y="5828"/>
                  </a:cubicBezTo>
                  <a:cubicBezTo>
                    <a:pt x="20376" y="6459"/>
                    <a:pt x="19831" y="7653"/>
                    <a:pt x="18518" y="9023"/>
                  </a:cubicBezTo>
                  <a:cubicBezTo>
                    <a:pt x="18136" y="9422"/>
                    <a:pt x="17702" y="9826"/>
                    <a:pt x="17221" y="10229"/>
                  </a:cubicBezTo>
                  <a:cubicBezTo>
                    <a:pt x="16488" y="9658"/>
                    <a:pt x="15673" y="9095"/>
                    <a:pt x="14798" y="8553"/>
                  </a:cubicBezTo>
                  <a:cubicBezTo>
                    <a:pt x="14720" y="7591"/>
                    <a:pt x="14590" y="6665"/>
                    <a:pt x="14415" y="5801"/>
                  </a:cubicBezTo>
                  <a:cubicBezTo>
                    <a:pt x="15842" y="5394"/>
                    <a:pt x="17082" y="5197"/>
                    <a:pt x="18035" y="5197"/>
                  </a:cubicBezTo>
                  <a:close/>
                  <a:moveTo>
                    <a:pt x="7532" y="6078"/>
                  </a:moveTo>
                  <a:cubicBezTo>
                    <a:pt x="8148" y="6281"/>
                    <a:pt x="8794" y="6520"/>
                    <a:pt x="9461" y="6795"/>
                  </a:cubicBezTo>
                  <a:cubicBezTo>
                    <a:pt x="9088" y="6975"/>
                    <a:pt x="8715" y="7162"/>
                    <a:pt x="8343" y="7358"/>
                  </a:cubicBezTo>
                  <a:cubicBezTo>
                    <a:pt x="7971" y="7553"/>
                    <a:pt x="7605" y="7754"/>
                    <a:pt x="7248" y="7958"/>
                  </a:cubicBezTo>
                  <a:cubicBezTo>
                    <a:pt x="7320" y="7295"/>
                    <a:pt x="7416" y="6666"/>
                    <a:pt x="7532" y="6078"/>
                  </a:cubicBezTo>
                  <a:close/>
                  <a:moveTo>
                    <a:pt x="13516" y="6078"/>
                  </a:moveTo>
                  <a:cubicBezTo>
                    <a:pt x="13632" y="6666"/>
                    <a:pt x="13728" y="7295"/>
                    <a:pt x="13800" y="7958"/>
                  </a:cubicBezTo>
                  <a:cubicBezTo>
                    <a:pt x="13443" y="7754"/>
                    <a:pt x="13078" y="7553"/>
                    <a:pt x="12706" y="7358"/>
                  </a:cubicBezTo>
                  <a:cubicBezTo>
                    <a:pt x="12335" y="7162"/>
                    <a:pt x="11962" y="6975"/>
                    <a:pt x="11589" y="6795"/>
                  </a:cubicBezTo>
                  <a:cubicBezTo>
                    <a:pt x="12256" y="6520"/>
                    <a:pt x="12900" y="6281"/>
                    <a:pt x="13516" y="6078"/>
                  </a:cubicBezTo>
                  <a:close/>
                  <a:moveTo>
                    <a:pt x="10524" y="7258"/>
                  </a:moveTo>
                  <a:cubicBezTo>
                    <a:pt x="11084" y="7514"/>
                    <a:pt x="11656" y="7793"/>
                    <a:pt x="12236" y="8099"/>
                  </a:cubicBezTo>
                  <a:cubicBezTo>
                    <a:pt x="12807" y="8399"/>
                    <a:pt x="13361" y="8709"/>
                    <a:pt x="13892" y="9029"/>
                  </a:cubicBezTo>
                  <a:cubicBezTo>
                    <a:pt x="13929" y="9598"/>
                    <a:pt x="13948" y="10189"/>
                    <a:pt x="13948" y="10799"/>
                  </a:cubicBezTo>
                  <a:cubicBezTo>
                    <a:pt x="13948" y="11410"/>
                    <a:pt x="13927" y="12000"/>
                    <a:pt x="13890" y="12570"/>
                  </a:cubicBezTo>
                  <a:cubicBezTo>
                    <a:pt x="13359" y="12889"/>
                    <a:pt x="12806" y="13201"/>
                    <a:pt x="12236" y="13501"/>
                  </a:cubicBezTo>
                  <a:cubicBezTo>
                    <a:pt x="11655" y="13807"/>
                    <a:pt x="11084" y="14087"/>
                    <a:pt x="10524" y="14342"/>
                  </a:cubicBezTo>
                  <a:cubicBezTo>
                    <a:pt x="9964" y="14087"/>
                    <a:pt x="9393" y="13807"/>
                    <a:pt x="8812" y="13501"/>
                  </a:cubicBezTo>
                  <a:cubicBezTo>
                    <a:pt x="8241" y="13201"/>
                    <a:pt x="7689" y="12891"/>
                    <a:pt x="7158" y="12571"/>
                  </a:cubicBezTo>
                  <a:cubicBezTo>
                    <a:pt x="7121" y="12002"/>
                    <a:pt x="7100" y="11410"/>
                    <a:pt x="7100" y="10799"/>
                  </a:cubicBezTo>
                  <a:cubicBezTo>
                    <a:pt x="7100" y="10189"/>
                    <a:pt x="7121" y="9598"/>
                    <a:pt x="7158" y="9029"/>
                  </a:cubicBezTo>
                  <a:cubicBezTo>
                    <a:pt x="7689" y="8709"/>
                    <a:pt x="8241" y="8399"/>
                    <a:pt x="8812" y="8099"/>
                  </a:cubicBezTo>
                  <a:cubicBezTo>
                    <a:pt x="9393" y="7793"/>
                    <a:pt x="9964" y="7514"/>
                    <a:pt x="10524" y="7258"/>
                  </a:cubicBezTo>
                  <a:close/>
                  <a:moveTo>
                    <a:pt x="10524" y="9608"/>
                  </a:moveTo>
                  <a:cubicBezTo>
                    <a:pt x="10189" y="9608"/>
                    <a:pt x="9855" y="9724"/>
                    <a:pt x="9600" y="9957"/>
                  </a:cubicBezTo>
                  <a:cubicBezTo>
                    <a:pt x="9089" y="10422"/>
                    <a:pt x="9089" y="11178"/>
                    <a:pt x="9600" y="11643"/>
                  </a:cubicBezTo>
                  <a:cubicBezTo>
                    <a:pt x="10110" y="12108"/>
                    <a:pt x="10938" y="12108"/>
                    <a:pt x="11448" y="11643"/>
                  </a:cubicBezTo>
                  <a:cubicBezTo>
                    <a:pt x="11959" y="11178"/>
                    <a:pt x="11959" y="10422"/>
                    <a:pt x="11448" y="9957"/>
                  </a:cubicBezTo>
                  <a:cubicBezTo>
                    <a:pt x="11193" y="9724"/>
                    <a:pt x="10859" y="9608"/>
                    <a:pt x="10524" y="9608"/>
                  </a:cubicBezTo>
                  <a:close/>
                  <a:moveTo>
                    <a:pt x="6185" y="9638"/>
                  </a:moveTo>
                  <a:cubicBezTo>
                    <a:pt x="6169" y="10021"/>
                    <a:pt x="6161" y="10408"/>
                    <a:pt x="6161" y="10799"/>
                  </a:cubicBezTo>
                  <a:cubicBezTo>
                    <a:pt x="6161" y="11190"/>
                    <a:pt x="6169" y="11579"/>
                    <a:pt x="6185" y="11962"/>
                  </a:cubicBezTo>
                  <a:cubicBezTo>
                    <a:pt x="5601" y="11581"/>
                    <a:pt x="5050" y="11191"/>
                    <a:pt x="4540" y="10799"/>
                  </a:cubicBezTo>
                  <a:cubicBezTo>
                    <a:pt x="5050" y="10407"/>
                    <a:pt x="5601" y="10019"/>
                    <a:pt x="6185" y="9638"/>
                  </a:cubicBezTo>
                  <a:close/>
                  <a:moveTo>
                    <a:pt x="14863" y="9638"/>
                  </a:moveTo>
                  <a:cubicBezTo>
                    <a:pt x="15447" y="10019"/>
                    <a:pt x="15998" y="10407"/>
                    <a:pt x="16508" y="10799"/>
                  </a:cubicBezTo>
                  <a:cubicBezTo>
                    <a:pt x="15998" y="11191"/>
                    <a:pt x="15447" y="11581"/>
                    <a:pt x="14863" y="11962"/>
                  </a:cubicBezTo>
                  <a:cubicBezTo>
                    <a:pt x="14879" y="11579"/>
                    <a:pt x="14887" y="11190"/>
                    <a:pt x="14887" y="10799"/>
                  </a:cubicBezTo>
                  <a:cubicBezTo>
                    <a:pt x="14887" y="10408"/>
                    <a:pt x="14879" y="10021"/>
                    <a:pt x="14863" y="9638"/>
                  </a:cubicBezTo>
                  <a:close/>
                  <a:moveTo>
                    <a:pt x="3828" y="11371"/>
                  </a:moveTo>
                  <a:cubicBezTo>
                    <a:pt x="4562" y="11942"/>
                    <a:pt x="5377" y="12505"/>
                    <a:pt x="6252" y="13047"/>
                  </a:cubicBezTo>
                  <a:cubicBezTo>
                    <a:pt x="6330" y="14009"/>
                    <a:pt x="6458" y="14933"/>
                    <a:pt x="6633" y="15797"/>
                  </a:cubicBezTo>
                  <a:cubicBezTo>
                    <a:pt x="5206" y="16204"/>
                    <a:pt x="3968" y="16403"/>
                    <a:pt x="3015" y="16403"/>
                  </a:cubicBezTo>
                  <a:cubicBezTo>
                    <a:pt x="2020" y="16403"/>
                    <a:pt x="1335" y="16187"/>
                    <a:pt x="1072" y="15772"/>
                  </a:cubicBezTo>
                  <a:cubicBezTo>
                    <a:pt x="672" y="15141"/>
                    <a:pt x="1217" y="13947"/>
                    <a:pt x="2530" y="12577"/>
                  </a:cubicBezTo>
                  <a:cubicBezTo>
                    <a:pt x="2912" y="12178"/>
                    <a:pt x="3348" y="11774"/>
                    <a:pt x="3828" y="11371"/>
                  </a:cubicBezTo>
                  <a:close/>
                  <a:moveTo>
                    <a:pt x="17220" y="11371"/>
                  </a:moveTo>
                  <a:cubicBezTo>
                    <a:pt x="17700" y="11774"/>
                    <a:pt x="18136" y="12178"/>
                    <a:pt x="18518" y="12577"/>
                  </a:cubicBezTo>
                  <a:cubicBezTo>
                    <a:pt x="19831" y="13947"/>
                    <a:pt x="20376" y="15141"/>
                    <a:pt x="19976" y="15772"/>
                  </a:cubicBezTo>
                  <a:cubicBezTo>
                    <a:pt x="19713" y="16187"/>
                    <a:pt x="19030" y="16403"/>
                    <a:pt x="18035" y="16403"/>
                  </a:cubicBezTo>
                  <a:cubicBezTo>
                    <a:pt x="17082" y="16403"/>
                    <a:pt x="15842" y="16204"/>
                    <a:pt x="14415" y="15797"/>
                  </a:cubicBezTo>
                  <a:cubicBezTo>
                    <a:pt x="14590" y="14933"/>
                    <a:pt x="14718" y="14009"/>
                    <a:pt x="14796" y="13047"/>
                  </a:cubicBezTo>
                  <a:cubicBezTo>
                    <a:pt x="15671" y="12505"/>
                    <a:pt x="16486" y="11942"/>
                    <a:pt x="17220" y="11371"/>
                  </a:cubicBezTo>
                  <a:close/>
                  <a:moveTo>
                    <a:pt x="7248" y="13642"/>
                  </a:moveTo>
                  <a:cubicBezTo>
                    <a:pt x="7605" y="13846"/>
                    <a:pt x="7971" y="14047"/>
                    <a:pt x="8343" y="14242"/>
                  </a:cubicBezTo>
                  <a:cubicBezTo>
                    <a:pt x="8715" y="14438"/>
                    <a:pt x="9088" y="14625"/>
                    <a:pt x="9461" y="14805"/>
                  </a:cubicBezTo>
                  <a:cubicBezTo>
                    <a:pt x="8794" y="15080"/>
                    <a:pt x="8148" y="15319"/>
                    <a:pt x="7532" y="15522"/>
                  </a:cubicBezTo>
                  <a:cubicBezTo>
                    <a:pt x="7416" y="14934"/>
                    <a:pt x="7320" y="14305"/>
                    <a:pt x="7248" y="13642"/>
                  </a:cubicBezTo>
                  <a:close/>
                  <a:moveTo>
                    <a:pt x="13800" y="13642"/>
                  </a:moveTo>
                  <a:cubicBezTo>
                    <a:pt x="13728" y="14305"/>
                    <a:pt x="13632" y="14934"/>
                    <a:pt x="13516" y="15522"/>
                  </a:cubicBezTo>
                  <a:cubicBezTo>
                    <a:pt x="12900" y="15319"/>
                    <a:pt x="12256" y="15080"/>
                    <a:pt x="11589" y="14805"/>
                  </a:cubicBezTo>
                  <a:cubicBezTo>
                    <a:pt x="11962" y="14625"/>
                    <a:pt x="12335" y="14438"/>
                    <a:pt x="12706" y="14242"/>
                  </a:cubicBezTo>
                  <a:cubicBezTo>
                    <a:pt x="13078" y="14047"/>
                    <a:pt x="13443" y="13846"/>
                    <a:pt x="13800" y="13642"/>
                  </a:cubicBezTo>
                  <a:close/>
                  <a:moveTo>
                    <a:pt x="10524" y="15294"/>
                  </a:moveTo>
                  <a:cubicBezTo>
                    <a:pt x="11478" y="15713"/>
                    <a:pt x="12420" y="16075"/>
                    <a:pt x="13329" y="16369"/>
                  </a:cubicBezTo>
                  <a:cubicBezTo>
                    <a:pt x="12661" y="19087"/>
                    <a:pt x="11556" y="20744"/>
                    <a:pt x="10524" y="20744"/>
                  </a:cubicBezTo>
                  <a:cubicBezTo>
                    <a:pt x="9492" y="20744"/>
                    <a:pt x="8386" y="19087"/>
                    <a:pt x="7719" y="16369"/>
                  </a:cubicBezTo>
                  <a:cubicBezTo>
                    <a:pt x="8628" y="16075"/>
                    <a:pt x="9571" y="15713"/>
                    <a:pt x="10524" y="15294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/>
            </a:p>
          </p:txBody>
        </p:sp>
        <p:sp>
          <p:nvSpPr>
            <p:cNvPr id="15" name="可开关">
              <a:extLst>
                <a:ext uri="{FF2B5EF4-FFF2-40B4-BE49-F238E27FC236}">
                  <a16:creationId xmlns:a16="http://schemas.microsoft.com/office/drawing/2014/main" id="{25F0DFA6-71BF-4E11-B8DC-38161E74E807}"/>
                </a:ext>
              </a:extLst>
            </p:cNvPr>
            <p:cNvSpPr txBox="1"/>
            <p:nvPr/>
          </p:nvSpPr>
          <p:spPr>
            <a:xfrm>
              <a:off x="1105423" y="1420236"/>
              <a:ext cx="3388030" cy="175928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/>
            <a:p>
              <a:pPr marL="342900" indent="-3429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sz="2400" dirty="0" err="1"/>
                <a:t>可开关</a:t>
              </a:r>
              <a:endParaRPr lang="en-US" sz="2400" dirty="0"/>
            </a:p>
            <a:p>
              <a:pPr marL="342900" indent="-3429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zh-CN" altLang="en-US" sz="2400" dirty="0"/>
                <a:t>配置规则无需重启实时生效</a:t>
              </a:r>
            </a:p>
            <a:p>
              <a:pPr marL="342900" indent="-3429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en-US" altLang="zh-CN" sz="2400" dirty="0"/>
                <a:t>agent</a:t>
              </a:r>
              <a:r>
                <a:rPr lang="zh-CN" altLang="en-US" sz="2400" dirty="0"/>
                <a:t>故障不能影响业务</a:t>
              </a:r>
            </a:p>
          </p:txBody>
        </p:sp>
        <p:sp>
          <p:nvSpPr>
            <p:cNvPr id="17" name="agent故障不能影响业务">
              <a:extLst>
                <a:ext uri="{FF2B5EF4-FFF2-40B4-BE49-F238E27FC236}">
                  <a16:creationId xmlns:a16="http://schemas.microsoft.com/office/drawing/2014/main" id="{B218BE03-AA82-45D9-A405-1E731DCF909A}"/>
                </a:ext>
              </a:extLst>
            </p:cNvPr>
            <p:cNvSpPr txBox="1"/>
            <p:nvPr/>
          </p:nvSpPr>
          <p:spPr>
            <a:xfrm>
              <a:off x="1331784" y="2817964"/>
              <a:ext cx="3140563" cy="41605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/>
            <a:p>
              <a:endParaRPr sz="24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59389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indefinite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 advAuto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微服务治理 </a:t>
            </a:r>
            <a:r>
              <a:rPr lang="en-US" altLang="zh-CN" sz="3200" dirty="0"/>
              <a:t>- Caesar</a:t>
            </a:r>
            <a:r>
              <a:rPr lang="zh-CN" altLang="en-US" sz="3200" dirty="0"/>
              <a:t>总体流程</a:t>
            </a:r>
            <a:endParaRPr lang="en-US" altLang="zh-CN" sz="3200" b="1" dirty="0"/>
          </a:p>
        </p:txBody>
      </p:sp>
      <p:pic>
        <p:nvPicPr>
          <p:cNvPr id="5" name="Caesar工作图.png" descr="Caesar工作图.png">
            <a:extLst>
              <a:ext uri="{FF2B5EF4-FFF2-40B4-BE49-F238E27FC236}">
                <a16:creationId xmlns:a16="http://schemas.microsoft.com/office/drawing/2014/main" id="{1667BE54-A861-4C04-BDAF-05316BBA89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645" y="1215606"/>
            <a:ext cx="8722710" cy="5507442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22817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微服务治理 </a:t>
            </a:r>
            <a:r>
              <a:rPr lang="en-US" altLang="zh-CN" sz="3200" dirty="0"/>
              <a:t>- </a:t>
            </a:r>
            <a:r>
              <a:rPr lang="zh-CN" altLang="en-US" sz="3200" dirty="0"/>
              <a:t>现有功能</a:t>
            </a:r>
            <a:endParaRPr lang="en-US" altLang="zh-CN" sz="3200" b="1" dirty="0"/>
          </a:p>
        </p:txBody>
      </p:sp>
      <p:grpSp>
        <p:nvGrpSpPr>
          <p:cNvPr id="4" name="降级">
            <a:extLst>
              <a:ext uri="{FF2B5EF4-FFF2-40B4-BE49-F238E27FC236}">
                <a16:creationId xmlns:a16="http://schemas.microsoft.com/office/drawing/2014/main" id="{DA337927-1697-4081-9E7F-7CA3A11704EA}"/>
              </a:ext>
            </a:extLst>
          </p:cNvPr>
          <p:cNvGrpSpPr/>
          <p:nvPr/>
        </p:nvGrpSpPr>
        <p:grpSpPr>
          <a:xfrm>
            <a:off x="3637545" y="1448411"/>
            <a:ext cx="1879600" cy="2810848"/>
            <a:chOff x="0" y="0"/>
            <a:chExt cx="3759199" cy="5621695"/>
          </a:xfrm>
        </p:grpSpPr>
        <p:sp>
          <p:nvSpPr>
            <p:cNvPr id="6" name="降级">
              <a:extLst>
                <a:ext uri="{FF2B5EF4-FFF2-40B4-BE49-F238E27FC236}">
                  <a16:creationId xmlns:a16="http://schemas.microsoft.com/office/drawing/2014/main" id="{133A11FD-2CA0-4DED-B5AC-A1F21EB0F365}"/>
                </a:ext>
              </a:extLst>
            </p:cNvPr>
            <p:cNvSpPr/>
            <p:nvPr/>
          </p:nvSpPr>
          <p:spPr>
            <a:xfrm>
              <a:off x="3867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sz="1600"/>
                <a:t>降级</a:t>
              </a:r>
            </a:p>
          </p:txBody>
        </p:sp>
        <p:sp>
          <p:nvSpPr>
            <p:cNvPr id="7" name="服务端降级">
              <a:extLst>
                <a:ext uri="{FF2B5EF4-FFF2-40B4-BE49-F238E27FC236}">
                  <a16:creationId xmlns:a16="http://schemas.microsoft.com/office/drawing/2014/main" id="{272ED8C8-36C0-4BB0-AF85-9FD95AF739CC}"/>
                </a:ext>
              </a:extLst>
            </p:cNvPr>
            <p:cNvSpPr txBox="1"/>
            <p:nvPr/>
          </p:nvSpPr>
          <p:spPr>
            <a:xfrm>
              <a:off x="386754" y="3134517"/>
              <a:ext cx="2955289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/>
            <a:p>
              <a:pPr algn="ctr"/>
              <a:r>
                <a:rPr sz="1600" dirty="0" err="1"/>
                <a:t>服务端降级</a:t>
              </a:r>
              <a:endParaRPr sz="1600" dirty="0"/>
            </a:p>
          </p:txBody>
        </p:sp>
        <p:sp>
          <p:nvSpPr>
            <p:cNvPr id="8" name="支持自定义返回内容">
              <a:extLst>
                <a:ext uri="{FF2B5EF4-FFF2-40B4-BE49-F238E27FC236}">
                  <a16:creationId xmlns:a16="http://schemas.microsoft.com/office/drawing/2014/main" id="{FF777F77-9018-46B7-B02B-BDA36DE78E3D}"/>
                </a:ext>
              </a:extLst>
            </p:cNvPr>
            <p:cNvSpPr txBox="1"/>
            <p:nvPr/>
          </p:nvSpPr>
          <p:spPr>
            <a:xfrm>
              <a:off x="0" y="5028606"/>
              <a:ext cx="3759199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/>
                <a:t>支持自定义返回内容</a:t>
              </a:r>
            </a:p>
          </p:txBody>
        </p:sp>
      </p:grpSp>
      <p:grpSp>
        <p:nvGrpSpPr>
          <p:cNvPr id="9" name="熔断">
            <a:extLst>
              <a:ext uri="{FF2B5EF4-FFF2-40B4-BE49-F238E27FC236}">
                <a16:creationId xmlns:a16="http://schemas.microsoft.com/office/drawing/2014/main" id="{9CB03AF6-D173-48E0-AB61-5F985718E218}"/>
              </a:ext>
            </a:extLst>
          </p:cNvPr>
          <p:cNvGrpSpPr/>
          <p:nvPr/>
        </p:nvGrpSpPr>
        <p:grpSpPr>
          <a:xfrm>
            <a:off x="6228830" y="1448411"/>
            <a:ext cx="2286000" cy="3605896"/>
            <a:chOff x="-1" y="0"/>
            <a:chExt cx="4571999" cy="7211791"/>
          </a:xfrm>
        </p:grpSpPr>
        <p:sp>
          <p:nvSpPr>
            <p:cNvPr id="10" name="熔断">
              <a:extLst>
                <a:ext uri="{FF2B5EF4-FFF2-40B4-BE49-F238E27FC236}">
                  <a16:creationId xmlns:a16="http://schemas.microsoft.com/office/drawing/2014/main" id="{86489E44-A904-41D8-A9DD-C9FA0369709E}"/>
                </a:ext>
              </a:extLst>
            </p:cNvPr>
            <p:cNvSpPr/>
            <p:nvPr/>
          </p:nvSpPr>
          <p:spPr>
            <a:xfrm>
              <a:off x="7677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sz="1600"/>
                <a:t>熔断</a:t>
              </a:r>
            </a:p>
          </p:txBody>
        </p:sp>
        <p:sp>
          <p:nvSpPr>
            <p:cNvPr id="11" name="支持自动熔断、手动熔断">
              <a:extLst>
                <a:ext uri="{FF2B5EF4-FFF2-40B4-BE49-F238E27FC236}">
                  <a16:creationId xmlns:a16="http://schemas.microsoft.com/office/drawing/2014/main" id="{ECE0CBFA-C34D-4BAE-A6E9-AA398FE898E5}"/>
                </a:ext>
              </a:extLst>
            </p:cNvPr>
            <p:cNvSpPr txBox="1"/>
            <p:nvPr/>
          </p:nvSpPr>
          <p:spPr>
            <a:xfrm>
              <a:off x="-1" y="3110622"/>
              <a:ext cx="4571999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 dirty="0" err="1"/>
                <a:t>支持自动熔断、手动熔断</a:t>
              </a:r>
              <a:endParaRPr sz="1600" dirty="0"/>
            </a:p>
          </p:txBody>
        </p:sp>
        <p:sp>
          <p:nvSpPr>
            <p:cNvPr id="12" name="支持参数个性化设置">
              <a:extLst>
                <a:ext uri="{FF2B5EF4-FFF2-40B4-BE49-F238E27FC236}">
                  <a16:creationId xmlns:a16="http://schemas.microsoft.com/office/drawing/2014/main" id="{BCF77385-8E7B-4B56-8255-5BABD1394F02}"/>
                </a:ext>
              </a:extLst>
            </p:cNvPr>
            <p:cNvSpPr txBox="1"/>
            <p:nvPr/>
          </p:nvSpPr>
          <p:spPr>
            <a:xfrm>
              <a:off x="381000" y="5028606"/>
              <a:ext cx="3759199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/>
                <a:t>支持参数个性化设置</a:t>
              </a:r>
            </a:p>
          </p:txBody>
        </p:sp>
        <p:sp>
          <p:nvSpPr>
            <p:cNvPr id="13" name="支持自定义熔断响应">
              <a:extLst>
                <a:ext uri="{FF2B5EF4-FFF2-40B4-BE49-F238E27FC236}">
                  <a16:creationId xmlns:a16="http://schemas.microsoft.com/office/drawing/2014/main" id="{BB7B19E6-B459-4262-963B-BAC543D22F30}"/>
                </a:ext>
              </a:extLst>
            </p:cNvPr>
            <p:cNvSpPr txBox="1"/>
            <p:nvPr/>
          </p:nvSpPr>
          <p:spPr>
            <a:xfrm>
              <a:off x="381001" y="6618701"/>
              <a:ext cx="3759199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 dirty="0" err="1"/>
                <a:t>支持自定义熔断响应</a:t>
              </a:r>
              <a:endParaRPr sz="1600" dirty="0"/>
            </a:p>
          </p:txBody>
        </p:sp>
      </p:grpSp>
      <p:grpSp>
        <p:nvGrpSpPr>
          <p:cNvPr id="14" name="流量染色">
            <a:extLst>
              <a:ext uri="{FF2B5EF4-FFF2-40B4-BE49-F238E27FC236}">
                <a16:creationId xmlns:a16="http://schemas.microsoft.com/office/drawing/2014/main" id="{F6A6A3E1-70D6-4E7C-A4A8-829F4A8DABAE}"/>
              </a:ext>
            </a:extLst>
          </p:cNvPr>
          <p:cNvGrpSpPr/>
          <p:nvPr/>
        </p:nvGrpSpPr>
        <p:grpSpPr>
          <a:xfrm>
            <a:off x="9041731" y="1448411"/>
            <a:ext cx="2082800" cy="3625405"/>
            <a:chOff x="749299" y="0"/>
            <a:chExt cx="4165600" cy="7250809"/>
          </a:xfrm>
        </p:grpSpPr>
        <p:sp>
          <p:nvSpPr>
            <p:cNvPr id="15" name="流量染色">
              <a:extLst>
                <a:ext uri="{FF2B5EF4-FFF2-40B4-BE49-F238E27FC236}">
                  <a16:creationId xmlns:a16="http://schemas.microsoft.com/office/drawing/2014/main" id="{44CD2F56-1CE4-43AD-AA32-A19FED82D036}"/>
                </a:ext>
              </a:extLst>
            </p:cNvPr>
            <p:cNvSpPr/>
            <p:nvPr/>
          </p:nvSpPr>
          <p:spPr>
            <a:xfrm>
              <a:off x="1529754" y="0"/>
              <a:ext cx="2769792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sz="1600"/>
                <a:t>流量染色</a:t>
              </a:r>
            </a:p>
          </p:txBody>
        </p:sp>
        <p:sp>
          <p:nvSpPr>
            <p:cNvPr id="16" name="支持四种流量匹配模式">
              <a:extLst>
                <a:ext uri="{FF2B5EF4-FFF2-40B4-BE49-F238E27FC236}">
                  <a16:creationId xmlns:a16="http://schemas.microsoft.com/office/drawing/2014/main" id="{CD3B49FD-6EE0-4E48-9A3F-DE1781B323E8}"/>
                </a:ext>
              </a:extLst>
            </p:cNvPr>
            <p:cNvSpPr txBox="1"/>
            <p:nvPr/>
          </p:nvSpPr>
          <p:spPr>
            <a:xfrm>
              <a:off x="749299" y="5027929"/>
              <a:ext cx="4165600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 dirty="0" err="1"/>
                <a:t>支持四种流量匹配模式</a:t>
              </a:r>
              <a:endParaRPr sz="1600" dirty="0"/>
            </a:p>
          </p:txBody>
        </p:sp>
        <p:sp>
          <p:nvSpPr>
            <p:cNvPr id="17" name="支持共享式、独占式两种染色方式">
              <a:extLst>
                <a:ext uri="{FF2B5EF4-FFF2-40B4-BE49-F238E27FC236}">
                  <a16:creationId xmlns:a16="http://schemas.microsoft.com/office/drawing/2014/main" id="{100053CC-BA04-40E3-B9DC-1946E09B9055}"/>
                </a:ext>
              </a:extLst>
            </p:cNvPr>
            <p:cNvSpPr txBox="1"/>
            <p:nvPr/>
          </p:nvSpPr>
          <p:spPr>
            <a:xfrm>
              <a:off x="952499" y="3113626"/>
              <a:ext cx="3759200" cy="108585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pPr algn="ctr"/>
              <a:r>
                <a:rPr sz="1600" dirty="0" err="1"/>
                <a:t>支持共享式、独占式</a:t>
              </a:r>
              <a:endParaRPr sz="1600" dirty="0"/>
            </a:p>
            <a:p>
              <a:pPr algn="ctr"/>
              <a:r>
                <a:rPr sz="1600" dirty="0" err="1"/>
                <a:t>两种染色方式</a:t>
              </a:r>
              <a:endParaRPr sz="1600" dirty="0"/>
            </a:p>
          </p:txBody>
        </p:sp>
        <p:sp>
          <p:nvSpPr>
            <p:cNvPr id="18" name="支持全链路染色">
              <a:extLst>
                <a:ext uri="{FF2B5EF4-FFF2-40B4-BE49-F238E27FC236}">
                  <a16:creationId xmlns:a16="http://schemas.microsoft.com/office/drawing/2014/main" id="{465D56A7-431E-4001-A895-636BC569623B}"/>
                </a:ext>
              </a:extLst>
            </p:cNvPr>
            <p:cNvSpPr txBox="1"/>
            <p:nvPr/>
          </p:nvSpPr>
          <p:spPr>
            <a:xfrm>
              <a:off x="1441451" y="6657719"/>
              <a:ext cx="2946400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 dirty="0" err="1"/>
                <a:t>支持全链路染色</a:t>
              </a:r>
              <a:endParaRPr sz="1600" dirty="0"/>
            </a:p>
          </p:txBody>
        </p:sp>
      </p:grpSp>
      <p:grpSp>
        <p:nvGrpSpPr>
          <p:cNvPr id="19" name="限流">
            <a:extLst>
              <a:ext uri="{FF2B5EF4-FFF2-40B4-BE49-F238E27FC236}">
                <a16:creationId xmlns:a16="http://schemas.microsoft.com/office/drawing/2014/main" id="{BA04E2FF-36C8-46EB-86E4-5927731E8C08}"/>
              </a:ext>
            </a:extLst>
          </p:cNvPr>
          <p:cNvGrpSpPr/>
          <p:nvPr/>
        </p:nvGrpSpPr>
        <p:grpSpPr>
          <a:xfrm>
            <a:off x="523936" y="1448411"/>
            <a:ext cx="2139951" cy="3617203"/>
            <a:chOff x="0" y="0"/>
            <a:chExt cx="4279900" cy="7234405"/>
          </a:xfrm>
        </p:grpSpPr>
        <p:pic>
          <p:nvPicPr>
            <p:cNvPr id="20" name="Image" descr="Image">
              <a:extLst>
                <a:ext uri="{FF2B5EF4-FFF2-40B4-BE49-F238E27FC236}">
                  <a16:creationId xmlns:a16="http://schemas.microsoft.com/office/drawing/2014/main" id="{5009DBE6-C7C1-407A-9BB8-3AABC636D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2650934"/>
              <a:ext cx="4279900" cy="1346201"/>
            </a:xfrm>
            <a:prstGeom prst="rect">
              <a:avLst/>
            </a:prstGeom>
            <a:ln w="12700" cap="flat">
              <a:noFill/>
              <a:miter lim="400000"/>
              <a:headEnd/>
              <a:tailEnd/>
            </a:ln>
            <a:effectLst/>
          </p:spPr>
        </p:pic>
        <p:sp>
          <p:nvSpPr>
            <p:cNvPr id="21" name="限流">
              <a:extLst>
                <a:ext uri="{FF2B5EF4-FFF2-40B4-BE49-F238E27FC236}">
                  <a16:creationId xmlns:a16="http://schemas.microsoft.com/office/drawing/2014/main" id="{3216619A-8130-4817-8910-A50B8DE137C5}"/>
                </a:ext>
              </a:extLst>
            </p:cNvPr>
            <p:cNvSpPr/>
            <p:nvPr/>
          </p:nvSpPr>
          <p:spPr>
            <a:xfrm>
              <a:off x="7550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sz="1600"/>
                <a:t>限流</a:t>
              </a:r>
            </a:p>
          </p:txBody>
        </p:sp>
        <p:sp>
          <p:nvSpPr>
            <p:cNvPr id="22" name="支持黑白名单限流">
              <a:extLst>
                <a:ext uri="{FF2B5EF4-FFF2-40B4-BE49-F238E27FC236}">
                  <a16:creationId xmlns:a16="http://schemas.microsoft.com/office/drawing/2014/main" id="{E7FEEE99-8F28-4C4D-8A81-5C4A2964B716}"/>
                </a:ext>
              </a:extLst>
            </p:cNvPr>
            <p:cNvSpPr txBox="1"/>
            <p:nvPr/>
          </p:nvSpPr>
          <p:spPr>
            <a:xfrm>
              <a:off x="444500" y="5027929"/>
              <a:ext cx="3684269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/>
            <a:p>
              <a:r>
                <a:rPr sz="1600" dirty="0" err="1"/>
                <a:t>支持黑白名单限流</a:t>
              </a:r>
              <a:endParaRPr sz="1600" dirty="0"/>
            </a:p>
          </p:txBody>
        </p:sp>
        <p:sp>
          <p:nvSpPr>
            <p:cNvPr id="23" name="支持自定义返回内容">
              <a:extLst>
                <a:ext uri="{FF2B5EF4-FFF2-40B4-BE49-F238E27FC236}">
                  <a16:creationId xmlns:a16="http://schemas.microsoft.com/office/drawing/2014/main" id="{2B7D474E-5DCF-4CD1-9D59-3CBBFABAE512}"/>
                </a:ext>
              </a:extLst>
            </p:cNvPr>
            <p:cNvSpPr txBox="1"/>
            <p:nvPr/>
          </p:nvSpPr>
          <p:spPr>
            <a:xfrm>
              <a:off x="369570" y="6641315"/>
              <a:ext cx="3759198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 dirty="0" err="1"/>
                <a:t>支持自定义返回内容</a:t>
              </a:r>
              <a:endParaRPr sz="1600" dirty="0"/>
            </a:p>
          </p:txBody>
        </p:sp>
      </p:grpSp>
      <p:sp>
        <p:nvSpPr>
          <p:cNvPr id="24" name="支持自定义返回内容">
            <a:extLst>
              <a:ext uri="{FF2B5EF4-FFF2-40B4-BE49-F238E27FC236}">
                <a16:creationId xmlns:a16="http://schemas.microsoft.com/office/drawing/2014/main" id="{212DA26B-5A03-42AF-84B0-A58111317FF2}"/>
              </a:ext>
            </a:extLst>
          </p:cNvPr>
          <p:cNvSpPr txBox="1"/>
          <p:nvPr/>
        </p:nvSpPr>
        <p:spPr>
          <a:xfrm>
            <a:off x="625853" y="5575762"/>
            <a:ext cx="2082800" cy="296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25400" tIns="25400" rIns="25400" bIns="25400" numCol="1" anchor="ctr">
            <a:spAutoFit/>
          </a:bodyPr>
          <a:lstStyle/>
          <a:p>
            <a:r>
              <a:rPr sz="1600" dirty="0" err="1"/>
              <a:t>支持</a:t>
            </a:r>
            <a:r>
              <a:rPr lang="zh-CN" sz="1600" dirty="0"/>
              <a:t>服务级别接口限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157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dur="indefinite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dur="indefinite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dur="indefinite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 advAuto="0"/>
      <p:bldP spid="4" grpId="1" animBg="1" advAuto="0"/>
      <p:bldP spid="9" grpId="0" bldLvl="0" animBg="1" advAuto="0"/>
      <p:bldP spid="9" grpId="1" animBg="1" advAuto="0"/>
      <p:bldP spid="14" grpId="0" bldLvl="0" animBg="1" advAuto="0"/>
      <p:bldP spid="19" grpId="0" bldLvl="0" animBg="1" advAuto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微服务治理 </a:t>
            </a:r>
            <a:r>
              <a:rPr lang="en-US" altLang="zh-CN" sz="3200" dirty="0"/>
              <a:t>- </a:t>
            </a:r>
            <a:r>
              <a:rPr lang="zh-CN" altLang="en-US" sz="3200" dirty="0"/>
              <a:t>现有功能</a:t>
            </a:r>
            <a:endParaRPr lang="en-US" altLang="zh-CN" sz="3200" b="1" dirty="0"/>
          </a:p>
        </p:txBody>
      </p:sp>
      <p:grpSp>
        <p:nvGrpSpPr>
          <p:cNvPr id="3" name="降级">
            <a:extLst>
              <a:ext uri="{FF2B5EF4-FFF2-40B4-BE49-F238E27FC236}">
                <a16:creationId xmlns:a16="http://schemas.microsoft.com/office/drawing/2014/main" id="{503BF0D8-B92B-4DAA-812B-BDC76EFE933E}"/>
              </a:ext>
            </a:extLst>
          </p:cNvPr>
          <p:cNvGrpSpPr/>
          <p:nvPr/>
        </p:nvGrpSpPr>
        <p:grpSpPr>
          <a:xfrm>
            <a:off x="3572140" y="1448411"/>
            <a:ext cx="2010410" cy="2934037"/>
            <a:chOff x="-130810" y="0"/>
            <a:chExt cx="4020819" cy="5868073"/>
          </a:xfrm>
        </p:grpSpPr>
        <p:sp>
          <p:nvSpPr>
            <p:cNvPr id="4" name="降级">
              <a:extLst>
                <a:ext uri="{FF2B5EF4-FFF2-40B4-BE49-F238E27FC236}">
                  <a16:creationId xmlns:a16="http://schemas.microsoft.com/office/drawing/2014/main" id="{4CC1E0C0-577E-4738-AA4D-1FB7D8125196}"/>
                </a:ext>
              </a:extLst>
            </p:cNvPr>
            <p:cNvSpPr/>
            <p:nvPr/>
          </p:nvSpPr>
          <p:spPr>
            <a:xfrm>
              <a:off x="3867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lang="zh-CN" sz="1600"/>
                <a:t>检测控制</a:t>
              </a:r>
            </a:p>
          </p:txBody>
        </p:sp>
        <p:sp>
          <p:nvSpPr>
            <p:cNvPr id="5" name="服务端降级">
              <a:extLst>
                <a:ext uri="{FF2B5EF4-FFF2-40B4-BE49-F238E27FC236}">
                  <a16:creationId xmlns:a16="http://schemas.microsoft.com/office/drawing/2014/main" id="{513E5A39-34B0-48AA-90FF-A16D7D8128E5}"/>
                </a:ext>
              </a:extLst>
            </p:cNvPr>
            <p:cNvSpPr txBox="1"/>
            <p:nvPr/>
          </p:nvSpPr>
          <p:spPr>
            <a:xfrm>
              <a:off x="-130810" y="2781110"/>
              <a:ext cx="4020819" cy="108585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spAutoFit/>
            </a:bodyPr>
            <a:lstStyle/>
            <a:p>
              <a:pPr algn="ctr"/>
              <a:r>
                <a:rPr lang="zh-CN" altLang="en-US" sz="1600" dirty="0"/>
                <a:t>基于</a:t>
              </a:r>
              <a:r>
                <a:rPr lang="en-US" altLang="zh-CN" sz="1600" dirty="0" err="1"/>
                <a:t>healthcheck</a:t>
              </a:r>
              <a:r>
                <a:rPr lang="zh-CN" altLang="en-US" sz="1600" dirty="0"/>
                <a:t>字段的检测</a:t>
              </a:r>
            </a:p>
          </p:txBody>
        </p:sp>
        <p:sp>
          <p:nvSpPr>
            <p:cNvPr id="6" name="支持自定义返回内容">
              <a:extLst>
                <a:ext uri="{FF2B5EF4-FFF2-40B4-BE49-F238E27FC236}">
                  <a16:creationId xmlns:a16="http://schemas.microsoft.com/office/drawing/2014/main" id="{598DD429-1AB9-461F-91E2-3205769A765D}"/>
                </a:ext>
              </a:extLst>
            </p:cNvPr>
            <p:cNvSpPr txBox="1"/>
            <p:nvPr/>
          </p:nvSpPr>
          <p:spPr>
            <a:xfrm>
              <a:off x="-107950" y="4782223"/>
              <a:ext cx="3759199" cy="108585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pPr algn="ctr"/>
              <a:r>
                <a:rPr lang="zh-CN" sz="1600" dirty="0"/>
                <a:t>基于健康检测阈值的</a:t>
              </a:r>
            </a:p>
            <a:p>
              <a:pPr algn="ctr"/>
              <a:r>
                <a:rPr lang="zh-CN" sz="1600" dirty="0"/>
                <a:t>自动剔除和自动恢复</a:t>
              </a:r>
            </a:p>
          </p:txBody>
        </p:sp>
      </p:grpSp>
      <p:grpSp>
        <p:nvGrpSpPr>
          <p:cNvPr id="7" name="熔断">
            <a:extLst>
              <a:ext uri="{FF2B5EF4-FFF2-40B4-BE49-F238E27FC236}">
                <a16:creationId xmlns:a16="http://schemas.microsoft.com/office/drawing/2014/main" id="{FC2C160E-851A-43E1-B9FA-CE489F86718D}"/>
              </a:ext>
            </a:extLst>
          </p:cNvPr>
          <p:cNvGrpSpPr/>
          <p:nvPr/>
        </p:nvGrpSpPr>
        <p:grpSpPr>
          <a:xfrm>
            <a:off x="532881" y="1448411"/>
            <a:ext cx="2082800" cy="3633606"/>
            <a:chOff x="-1" y="0"/>
            <a:chExt cx="4165599" cy="7267211"/>
          </a:xfrm>
        </p:grpSpPr>
        <p:sp>
          <p:nvSpPr>
            <p:cNvPr id="8" name="熔断">
              <a:extLst>
                <a:ext uri="{FF2B5EF4-FFF2-40B4-BE49-F238E27FC236}">
                  <a16:creationId xmlns:a16="http://schemas.microsoft.com/office/drawing/2014/main" id="{0AAE8185-7233-4EF8-8E9F-8BFC71418A6E}"/>
                </a:ext>
              </a:extLst>
            </p:cNvPr>
            <p:cNvSpPr/>
            <p:nvPr/>
          </p:nvSpPr>
          <p:spPr>
            <a:xfrm>
              <a:off x="7677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lang="zh-CN" sz="1600"/>
                <a:t>负载均衡</a:t>
              </a:r>
            </a:p>
          </p:txBody>
        </p:sp>
        <p:sp>
          <p:nvSpPr>
            <p:cNvPr id="9" name="支持自动熔断、手动熔断">
              <a:extLst>
                <a:ext uri="{FF2B5EF4-FFF2-40B4-BE49-F238E27FC236}">
                  <a16:creationId xmlns:a16="http://schemas.microsoft.com/office/drawing/2014/main" id="{85EA79C7-5260-4C44-A0D1-FD8B5148B6B6}"/>
                </a:ext>
              </a:extLst>
            </p:cNvPr>
            <p:cNvSpPr txBox="1"/>
            <p:nvPr/>
          </p:nvSpPr>
          <p:spPr>
            <a:xfrm>
              <a:off x="-1" y="3027491"/>
              <a:ext cx="4165599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/>
                <a:t>支持</a:t>
              </a:r>
              <a:r>
                <a:rPr lang="zh-CN" sz="1600"/>
                <a:t>五种负载均衡策略</a:t>
              </a:r>
            </a:p>
          </p:txBody>
        </p:sp>
        <p:sp>
          <p:nvSpPr>
            <p:cNvPr id="10" name="支持参数个性化设置">
              <a:extLst>
                <a:ext uri="{FF2B5EF4-FFF2-40B4-BE49-F238E27FC236}">
                  <a16:creationId xmlns:a16="http://schemas.microsoft.com/office/drawing/2014/main" id="{B1E3E1B6-097E-47E9-9FB5-8B1CF5E5A956}"/>
                </a:ext>
              </a:extLst>
            </p:cNvPr>
            <p:cNvSpPr txBox="1"/>
            <p:nvPr/>
          </p:nvSpPr>
          <p:spPr>
            <a:xfrm>
              <a:off x="203200" y="5028606"/>
              <a:ext cx="3759199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sz="1600"/>
                <a:t>支持</a:t>
              </a:r>
              <a:r>
                <a:rPr lang="zh-CN" sz="1600"/>
                <a:t>均衡策略热更新</a:t>
              </a:r>
            </a:p>
          </p:txBody>
        </p:sp>
        <p:sp>
          <p:nvSpPr>
            <p:cNvPr id="11" name="支持自定义熔断响应">
              <a:extLst>
                <a:ext uri="{FF2B5EF4-FFF2-40B4-BE49-F238E27FC236}">
                  <a16:creationId xmlns:a16="http://schemas.microsoft.com/office/drawing/2014/main" id="{F36B9FD1-9BE9-41E6-B29B-9B47CC2AFDC6}"/>
                </a:ext>
              </a:extLst>
            </p:cNvPr>
            <p:cNvSpPr txBox="1"/>
            <p:nvPr/>
          </p:nvSpPr>
          <p:spPr>
            <a:xfrm>
              <a:off x="381000" y="6674122"/>
              <a:ext cx="355600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endParaRPr sz="1600"/>
            </a:p>
          </p:txBody>
        </p:sp>
      </p:grpSp>
      <p:grpSp>
        <p:nvGrpSpPr>
          <p:cNvPr id="12" name="熔断">
            <a:extLst>
              <a:ext uri="{FF2B5EF4-FFF2-40B4-BE49-F238E27FC236}">
                <a16:creationId xmlns:a16="http://schemas.microsoft.com/office/drawing/2014/main" id="{9F49049E-BA27-4E96-9E09-0ABE3A95508D}"/>
              </a:ext>
            </a:extLst>
          </p:cNvPr>
          <p:cNvGrpSpPr/>
          <p:nvPr/>
        </p:nvGrpSpPr>
        <p:grpSpPr>
          <a:xfrm>
            <a:off x="6709228" y="1448411"/>
            <a:ext cx="1384896" cy="3633606"/>
            <a:chOff x="767754" y="0"/>
            <a:chExt cx="2769791" cy="7267211"/>
          </a:xfrm>
        </p:grpSpPr>
        <p:sp>
          <p:nvSpPr>
            <p:cNvPr id="13" name="熔断">
              <a:extLst>
                <a:ext uri="{FF2B5EF4-FFF2-40B4-BE49-F238E27FC236}">
                  <a16:creationId xmlns:a16="http://schemas.microsoft.com/office/drawing/2014/main" id="{5646AF22-403B-4D47-AB28-8AB5A33E1C82}"/>
                </a:ext>
              </a:extLst>
            </p:cNvPr>
            <p:cNvSpPr/>
            <p:nvPr/>
          </p:nvSpPr>
          <p:spPr>
            <a:xfrm>
              <a:off x="767754" y="0"/>
              <a:ext cx="2769791" cy="1270000"/>
            </a:xfrm>
            <a:prstGeom prst="roundRect">
              <a:avLst>
                <a:gd name="adj" fmla="val 15000"/>
              </a:avLst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>
              <a:lvl1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lvl1pPr>
            </a:lstStyle>
            <a:p>
              <a:pPr algn="ctr"/>
              <a:r>
                <a:rPr lang="en-US" sz="1600"/>
                <a:t>APM</a:t>
              </a:r>
            </a:p>
          </p:txBody>
        </p:sp>
        <p:sp>
          <p:nvSpPr>
            <p:cNvPr id="14" name="支持自动熔断、手动熔断">
              <a:extLst>
                <a:ext uri="{FF2B5EF4-FFF2-40B4-BE49-F238E27FC236}">
                  <a16:creationId xmlns:a16="http://schemas.microsoft.com/office/drawing/2014/main" id="{2633BF79-AF0E-4941-AB9F-E8E98B6F2C65}"/>
                </a:ext>
              </a:extLst>
            </p:cNvPr>
            <p:cNvSpPr txBox="1"/>
            <p:nvPr/>
          </p:nvSpPr>
          <p:spPr>
            <a:xfrm>
              <a:off x="1493519" y="1959421"/>
              <a:ext cx="1320800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lang="zh-CN" sz="1600"/>
                <a:t>仪表盘</a:t>
              </a:r>
            </a:p>
          </p:txBody>
        </p:sp>
        <p:sp>
          <p:nvSpPr>
            <p:cNvPr id="15" name="支持参数个性化设置">
              <a:extLst>
                <a:ext uri="{FF2B5EF4-FFF2-40B4-BE49-F238E27FC236}">
                  <a16:creationId xmlns:a16="http://schemas.microsoft.com/office/drawing/2014/main" id="{7989EA0D-7E1A-4475-94CF-1188FDB64D89}"/>
                </a:ext>
              </a:extLst>
            </p:cNvPr>
            <p:cNvSpPr txBox="1"/>
            <p:nvPr/>
          </p:nvSpPr>
          <p:spPr>
            <a:xfrm>
              <a:off x="1289050" y="2974382"/>
              <a:ext cx="1727199" cy="5930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lang="zh-CN" sz="1600" dirty="0"/>
                <a:t>实例性能</a:t>
              </a:r>
            </a:p>
          </p:txBody>
        </p:sp>
        <p:sp>
          <p:nvSpPr>
            <p:cNvPr id="16" name="支持自定义熔断响应">
              <a:extLst>
                <a:ext uri="{FF2B5EF4-FFF2-40B4-BE49-F238E27FC236}">
                  <a16:creationId xmlns:a16="http://schemas.microsoft.com/office/drawing/2014/main" id="{F481D2D4-FA69-4F6A-B9FE-D19120C48811}"/>
                </a:ext>
              </a:extLst>
            </p:cNvPr>
            <p:cNvSpPr txBox="1"/>
            <p:nvPr/>
          </p:nvSpPr>
          <p:spPr>
            <a:xfrm>
              <a:off x="1290320" y="6674122"/>
              <a:ext cx="1727200" cy="5930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r>
                <a:rPr lang="zh-CN" sz="1600" dirty="0"/>
                <a:t>链路分析</a:t>
              </a:r>
            </a:p>
          </p:txBody>
        </p:sp>
      </p:grpSp>
      <p:sp>
        <p:nvSpPr>
          <p:cNvPr id="17" name="支持参数个性化设置">
            <a:extLst>
              <a:ext uri="{FF2B5EF4-FFF2-40B4-BE49-F238E27FC236}">
                <a16:creationId xmlns:a16="http://schemas.microsoft.com/office/drawing/2014/main" id="{ED8F313E-8A2F-476F-935B-12F9C9349128}"/>
              </a:ext>
            </a:extLst>
          </p:cNvPr>
          <p:cNvSpPr txBox="1"/>
          <p:nvPr/>
        </p:nvSpPr>
        <p:spPr>
          <a:xfrm>
            <a:off x="6969876" y="3542979"/>
            <a:ext cx="863600" cy="296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25400" tIns="25400" rIns="25400" bIns="25400" numCol="1" anchor="ctr">
            <a:spAutoFit/>
          </a:bodyPr>
          <a:lstStyle/>
          <a:p>
            <a:r>
              <a:rPr lang="zh-CN" sz="1600" dirty="0"/>
              <a:t>事务分析</a:t>
            </a:r>
          </a:p>
        </p:txBody>
      </p:sp>
      <p:sp>
        <p:nvSpPr>
          <p:cNvPr id="18" name="支持参数个性化设置">
            <a:extLst>
              <a:ext uri="{FF2B5EF4-FFF2-40B4-BE49-F238E27FC236}">
                <a16:creationId xmlns:a16="http://schemas.microsoft.com/office/drawing/2014/main" id="{D97DD7B4-73BD-4BF4-9758-3A315E44F658}"/>
              </a:ext>
            </a:extLst>
          </p:cNvPr>
          <p:cNvSpPr txBox="1"/>
          <p:nvPr/>
        </p:nvSpPr>
        <p:spPr>
          <a:xfrm>
            <a:off x="6969876" y="4164644"/>
            <a:ext cx="863600" cy="296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25400" tIns="25400" rIns="25400" bIns="25400" numCol="1" anchor="ctr">
            <a:spAutoFit/>
          </a:bodyPr>
          <a:lstStyle/>
          <a:p>
            <a:r>
              <a:rPr lang="zh-CN" sz="1600"/>
              <a:t>问题探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1029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 advAuto="0"/>
      <p:bldP spid="7" grpId="0" animBg="1" advAuto="0"/>
      <p:bldP spid="12" grpId="0" animBg="1" advAuto="0"/>
      <p:bldP spid="17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697670"/>
            <a:ext cx="10763205" cy="4086746"/>
            <a:chOff x="757282" y="1697670"/>
            <a:chExt cx="10763205" cy="4086746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697670"/>
              <a:ext cx="10763205" cy="4086746"/>
              <a:chOff x="1175743" y="1697670"/>
              <a:chExt cx="10344744" cy="4086746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69767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9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微软雅黑" panose="020B0503020204020204" pitchFamily="34" charset="-122"/>
                  </a:rPr>
                  <a:t>虎扑</a:t>
                </a: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介绍</a:t>
                </a:r>
                <a:endParaRPr lang="en-US" altLang="zh-CN" sz="2000" b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微软雅黑" panose="020B0503020204020204" pitchFamily="34" charset="-122"/>
                  </a:rPr>
                  <a:t>微服务应用规范</a:t>
                </a:r>
                <a:endParaRPr lang="en-US" altLang="zh-CN" sz="2000" b="0" dirty="0">
                  <a:latin typeface="微软雅黑" panose="020B0503020204020204" pitchFamily="34" charset="-122"/>
                </a:endParaRPr>
              </a:p>
              <a:p>
                <a:pPr marL="720725" lvl="1" indent="-360363">
                  <a:lnSpc>
                    <a:spcPct val="150000"/>
                  </a:lnSpc>
                  <a:buFont typeface="+mj-lt"/>
                  <a:buAutoNum type="romanUcPeriod"/>
                </a:pP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命名</a:t>
                </a:r>
                <a:r>
                  <a:rPr lang="zh-CN" altLang="en-US" sz="2000" b="0" dirty="0">
                    <a:latin typeface="微软雅黑" panose="020B0503020204020204" pitchFamily="34" charset="-122"/>
                  </a:rPr>
                  <a:t>规范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  <a:p>
                <a:pPr marL="720725" lvl="1" indent="-360363">
                  <a:lnSpc>
                    <a:spcPct val="150000"/>
                  </a:lnSpc>
                  <a:buFont typeface="+mj-lt"/>
                  <a:buAutoNum type="romanUcPeriod"/>
                </a:pP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创建规范</a:t>
                </a:r>
                <a:endParaRPr lang="en-US" altLang="zh-CN" sz="2000" b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720725" lvl="1" indent="-360363">
                  <a:lnSpc>
                    <a:spcPct val="150000"/>
                  </a:lnSpc>
                  <a:buFont typeface="+mj-lt"/>
                  <a:buAutoNum type="romanUcPeriod"/>
                </a:pP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配置规范</a:t>
                </a:r>
                <a:endParaRPr lang="en-US" altLang="zh-CN" sz="2000" b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720725" lvl="1" indent="-360363">
                  <a:lnSpc>
                    <a:spcPct val="150000"/>
                  </a:lnSpc>
                  <a:buFont typeface="+mj-lt"/>
                  <a:buAutoNum type="romanUcPeriod"/>
                </a:pP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间调用规范</a:t>
                </a:r>
                <a:endParaRPr lang="en-US" altLang="zh-CN" sz="2000" b="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720725" lvl="1" indent="-360363">
                  <a:lnSpc>
                    <a:spcPct val="150000"/>
                  </a:lnSpc>
                  <a:buFont typeface="+mj-lt"/>
                  <a:buAutoNum type="romanUcPeriod"/>
                </a:pPr>
                <a:r>
                  <a:rPr lang="en-US" altLang="zh-CN" sz="2000" b="0" dirty="0" err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Zuul</a:t>
                </a:r>
                <a:r>
                  <a:rPr lang="zh-CN" altLang="en-US" sz="2000" b="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网关使用、接入规范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虎扑微服务治理实践</a:t>
                </a: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目录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5" name="iŝḻïḍê"/>
          <p:cNvSpPr/>
          <p:nvPr/>
        </p:nvSpPr>
        <p:spPr>
          <a:xfrm flipV="1">
            <a:off x="0" y="13971"/>
            <a:ext cx="1873885" cy="2182495"/>
          </a:xfrm>
          <a:custGeom>
            <a:avLst/>
            <a:gdLst>
              <a:gd name="connsiteX0" fmla="*/ 0 w 3101"/>
              <a:gd name="connsiteY0" fmla="*/ 0 h 3557"/>
              <a:gd name="connsiteX1" fmla="*/ 3101 w 3101"/>
              <a:gd name="connsiteY1" fmla="*/ 3557 h 3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1" h="3557">
                <a:moveTo>
                  <a:pt x="0" y="0"/>
                </a:moveTo>
                <a:lnTo>
                  <a:pt x="3101" y="3557"/>
                </a:lnTo>
              </a:path>
            </a:pathLst>
          </a:cu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numCol="1" spcCol="0" rtlCol="0" fromWordArt="0" anchor="ctr" anchorCtr="0" forceAA="0" compatLnSpc="1">
            <a:noAutofit/>
          </a:bodyPr>
          <a:lstStyle/>
          <a:p>
            <a:pPr marL="225425" lvl="0" indent="-225425" algn="ctr" fontAlgn="base">
              <a:defRPr/>
            </a:pPr>
            <a:endParaRPr lang="en-US" altLang="zh-CN" sz="500" b="1" kern="0">
              <a:solidFill>
                <a:prstClr val="black"/>
              </a:solidFill>
            </a:endParaRPr>
          </a:p>
        </p:txBody>
      </p:sp>
      <p:sp>
        <p:nvSpPr>
          <p:cNvPr id="15" name="iSľíḍè"/>
          <p:cNvSpPr/>
          <p:nvPr/>
        </p:nvSpPr>
        <p:spPr>
          <a:xfrm flipV="1">
            <a:off x="0" y="33021"/>
            <a:ext cx="1564005" cy="1782445"/>
          </a:xfrm>
          <a:custGeom>
            <a:avLst/>
            <a:gdLst>
              <a:gd name="connsiteX0" fmla="*/ 0 w 2463"/>
              <a:gd name="connsiteY0" fmla="*/ 2807 h 2807"/>
              <a:gd name="connsiteX1" fmla="*/ 16 w 2463"/>
              <a:gd name="connsiteY1" fmla="*/ 0 h 2807"/>
              <a:gd name="connsiteX2" fmla="*/ 2463 w 2463"/>
              <a:gd name="connsiteY2" fmla="*/ 2807 h 2807"/>
              <a:gd name="connsiteX3" fmla="*/ 0 w 2463"/>
              <a:gd name="connsiteY3" fmla="*/ 2807 h 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3" h="2807">
                <a:moveTo>
                  <a:pt x="0" y="2807"/>
                </a:moveTo>
                <a:lnTo>
                  <a:pt x="16" y="0"/>
                </a:lnTo>
                <a:lnTo>
                  <a:pt x="2463" y="2807"/>
                </a:lnTo>
                <a:lnTo>
                  <a:pt x="0" y="2807"/>
                </a:lnTo>
                <a:close/>
              </a:path>
            </a:pathLst>
          </a:custGeom>
          <a:solidFill>
            <a:schemeClr val="accent1">
              <a:lumMod val="90000"/>
              <a:lumOff val="1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numCol="1" spcCol="0" rtlCol="0" fromWordArt="0" anchor="ctr" anchorCtr="0" forceAA="0" compatLnSpc="1">
            <a:noAutofit/>
          </a:bodyPr>
          <a:lstStyle/>
          <a:p>
            <a:pPr marL="225425" lvl="0" indent="-225425" algn="ctr" fontAlgn="base">
              <a:defRPr/>
            </a:pPr>
            <a:endParaRPr lang="en-US" altLang="zh-CN" sz="2000" b="1" kern="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7" name="ï$ḷïďê"/>
          <p:cNvSpPr/>
          <p:nvPr/>
        </p:nvSpPr>
        <p:spPr>
          <a:xfrm flipH="1">
            <a:off x="10716260" y="5501006"/>
            <a:ext cx="1485900" cy="1400810"/>
          </a:xfrm>
          <a:custGeom>
            <a:avLst/>
            <a:gdLst>
              <a:gd name="connsiteX0" fmla="*/ 0 w 2463"/>
              <a:gd name="connsiteY0" fmla="*/ 2807 h 2807"/>
              <a:gd name="connsiteX1" fmla="*/ 16 w 2463"/>
              <a:gd name="connsiteY1" fmla="*/ 0 h 2807"/>
              <a:gd name="connsiteX2" fmla="*/ 2463 w 2463"/>
              <a:gd name="connsiteY2" fmla="*/ 2807 h 2807"/>
              <a:gd name="connsiteX3" fmla="*/ 0 w 2463"/>
              <a:gd name="connsiteY3" fmla="*/ 2807 h 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3" h="2807">
                <a:moveTo>
                  <a:pt x="0" y="2807"/>
                </a:moveTo>
                <a:lnTo>
                  <a:pt x="16" y="0"/>
                </a:lnTo>
                <a:lnTo>
                  <a:pt x="2463" y="2807"/>
                </a:lnTo>
                <a:lnTo>
                  <a:pt x="0" y="2807"/>
                </a:lnTo>
                <a:close/>
              </a:path>
            </a:pathLst>
          </a:custGeom>
          <a:solidFill>
            <a:schemeClr val="accent1">
              <a:lumMod val="90000"/>
              <a:lumOff val="1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numCol="1" spcCol="0" rtlCol="0" fromWordArt="0" anchor="ctr" anchorCtr="0" forceAA="0" compatLnSpc="1">
            <a:noAutofit/>
          </a:bodyPr>
          <a:lstStyle/>
          <a:p>
            <a:pPr marL="225425" lvl="0" indent="-225425" algn="ctr" fontAlgn="base">
              <a:defRPr/>
            </a:pPr>
            <a:endParaRPr lang="en-US" altLang="zh-CN" sz="2000" b="1" kern="0" dirty="0">
              <a:solidFill>
                <a:schemeClr val="bg1"/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DBD3AE95-95B5-4C74-A17D-3C83F82E5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考一考：钉钉扫码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FD9BC1A-1ED1-4282-A4C1-22E4123556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6" b="31717"/>
          <a:stretch/>
        </p:blipFill>
        <p:spPr>
          <a:xfrm>
            <a:off x="4416404" y="1607127"/>
            <a:ext cx="2868402" cy="290945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A4292953-F53C-442B-A31A-F46D434BF264}"/>
              </a:ext>
            </a:extLst>
          </p:cNvPr>
          <p:cNvSpPr txBox="1"/>
          <p:nvPr/>
        </p:nvSpPr>
        <p:spPr>
          <a:xfrm>
            <a:off x="2908660" y="4679510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400" dirty="0"/>
              <a:t>用户名：公司邮箱地址</a:t>
            </a:r>
            <a:endParaRPr lang="en-US" altLang="zh-CN" sz="2400" dirty="0"/>
          </a:p>
          <a:p>
            <a:pPr algn="ctr"/>
            <a:r>
              <a:rPr lang="zh-CN" altLang="en-US" sz="2400" dirty="0"/>
              <a:t>初始密码：</a:t>
            </a:r>
            <a:r>
              <a:rPr lang="en-US" altLang="zh-CN" sz="2400" dirty="0"/>
              <a:t>123456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9603101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谢谢！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842EBE3-379A-43C5-9D23-2B7F5E73E9B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5" b="32323"/>
          <a:stretch/>
        </p:blipFill>
        <p:spPr>
          <a:xfrm>
            <a:off x="9767454" y="4889044"/>
            <a:ext cx="1739331" cy="173813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6DFEB5C-E9AA-461A-869F-304FCF939FEB}"/>
              </a:ext>
            </a:extLst>
          </p:cNvPr>
          <p:cNvSpPr txBox="1"/>
          <p:nvPr/>
        </p:nvSpPr>
        <p:spPr>
          <a:xfrm>
            <a:off x="9978014" y="4181158"/>
            <a:ext cx="131821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j-cs"/>
              </a:rPr>
              <a:t>钉钉扫码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j-cs"/>
            </a:endParaRPr>
          </a:p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Arial"/>
                <a:ea typeface="微软雅黑"/>
                <a:cs typeface="+mj-cs"/>
              </a:rPr>
              <a:t>评估反馈</a:t>
            </a:r>
            <a:endParaRPr lang="zh-CN" altLang="en-US" sz="1100" dirty="0"/>
          </a:p>
        </p:txBody>
      </p:sp>
    </p:spTree>
    <p:custDataLst>
      <p:tags r:id="rId3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315450" y="3727365"/>
            <a:ext cx="5203922" cy="895350"/>
          </a:xfrm>
        </p:spPr>
        <p:txBody>
          <a:bodyPr>
            <a:normAutofit/>
          </a:bodyPr>
          <a:lstStyle/>
          <a:p>
            <a:r>
              <a:rPr lang="zh-CN" altLang="en-US" sz="3600" dirty="0"/>
              <a:t>虎扑微服务介绍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32985" y="268505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432985" y="3852636"/>
            <a:ext cx="1023516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b="1" dirty="0"/>
              <a:t>微服务是什么，有什么优势</a:t>
            </a:r>
            <a:r>
              <a:rPr lang="en-US" altLang="zh-CN" sz="3200" b="1" dirty="0"/>
              <a:t>?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377926" y="1439338"/>
            <a:ext cx="11142561" cy="435133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fontAlgn="ctr">
              <a:lnSpc>
                <a:spcPct val="12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1</a:t>
            </a:r>
            <a:r>
              <a:rPr lang="zh-CN" altLang="en-US" sz="1700" dirty="0"/>
              <a:t>、</a:t>
            </a:r>
            <a:r>
              <a:rPr lang="zh-CN" altLang="zh-CN" sz="1700" dirty="0"/>
              <a:t>微服务</a:t>
            </a:r>
            <a:r>
              <a:rPr lang="en-US" altLang="zh-CN" sz="1700" dirty="0" err="1"/>
              <a:t>是一种架构风格</a:t>
            </a:r>
            <a:r>
              <a:rPr lang="en-US" altLang="zh-CN" sz="1700" dirty="0"/>
              <a:t>，</a:t>
            </a:r>
            <a:r>
              <a:rPr lang="zh-CN" altLang="en-US" sz="1700" dirty="0"/>
              <a:t>目的是</a:t>
            </a:r>
            <a:r>
              <a:rPr lang="zh-CN" altLang="en-US" sz="1700" b="1" dirty="0"/>
              <a:t>将</a:t>
            </a:r>
            <a:r>
              <a:rPr lang="en-US" altLang="zh-CN" sz="1700" b="1" dirty="0" err="1"/>
              <a:t>一个</a:t>
            </a:r>
            <a:r>
              <a:rPr lang="zh-CN" altLang="zh-CN" sz="1700" b="1" dirty="0"/>
              <a:t>传统的</a:t>
            </a:r>
            <a:r>
              <a:rPr lang="en-US" altLang="zh-CN" sz="1700" b="1" dirty="0" err="1"/>
              <a:t>大型复杂软件应用</a:t>
            </a:r>
            <a:r>
              <a:rPr lang="zh-CN" altLang="zh-CN" sz="1700" b="1" dirty="0"/>
              <a:t>拆分成</a:t>
            </a:r>
            <a:r>
              <a:rPr lang="en-US" altLang="zh-CN" sz="1700" b="1" dirty="0" err="1"/>
              <a:t>多个微服务</a:t>
            </a:r>
            <a:r>
              <a:rPr lang="zh-CN" altLang="en-US" sz="1700" dirty="0"/>
              <a:t>，通常具有以下特性：</a:t>
            </a:r>
            <a:endParaRPr lang="en-US" altLang="zh-CN" sz="1700" dirty="0"/>
          </a:p>
          <a:p>
            <a:pPr lvl="2" fontAlgn="ctr">
              <a:lnSpc>
                <a:spcPct val="120000"/>
              </a:lnSpc>
            </a:pPr>
            <a:r>
              <a:rPr lang="zh-CN" altLang="en-US" sz="1700" dirty="0"/>
              <a:t>服务间</a:t>
            </a:r>
            <a:r>
              <a:rPr lang="en-US" altLang="zh-CN" sz="1700" dirty="0" err="1"/>
              <a:t>松耦合</a:t>
            </a:r>
            <a:r>
              <a:rPr lang="zh-CN" altLang="en-US" sz="1700" dirty="0"/>
              <a:t>，服务内高内聚</a:t>
            </a:r>
            <a:r>
              <a:rPr lang="zh-CN" altLang="zh-CN" sz="1700" dirty="0"/>
              <a:t>，每</a:t>
            </a:r>
            <a:r>
              <a:rPr lang="en-US" altLang="zh-CN" sz="1700" dirty="0" err="1"/>
              <a:t>个微服务可被独立</a:t>
            </a:r>
            <a:r>
              <a:rPr lang="zh-CN" altLang="zh-CN" sz="1700" dirty="0"/>
              <a:t>开发、</a:t>
            </a:r>
            <a:r>
              <a:rPr lang="en-US" altLang="zh-CN" sz="1700" dirty="0" err="1"/>
              <a:t>部署</a:t>
            </a:r>
            <a:r>
              <a:rPr lang="zh-CN" altLang="zh-CN" sz="1700" dirty="0"/>
              <a:t>，</a:t>
            </a:r>
            <a:r>
              <a:rPr lang="zh-CN" altLang="en-US" sz="1700" dirty="0"/>
              <a:t>可以灵活地按需扩容。</a:t>
            </a:r>
            <a:endParaRPr lang="zh-CN" altLang="zh-CN" sz="1700" dirty="0"/>
          </a:p>
          <a:p>
            <a:pPr lvl="2" fontAlgn="ctr">
              <a:lnSpc>
                <a:spcPct val="120000"/>
              </a:lnSpc>
            </a:pPr>
            <a:r>
              <a:rPr lang="zh-CN" altLang="en-US" sz="1700" dirty="0"/>
              <a:t>可以</a:t>
            </a:r>
            <a:r>
              <a:rPr lang="zh-CN" altLang="zh-CN" sz="1700" dirty="0"/>
              <a:t>聚焦一个指定的业务功能，</a:t>
            </a:r>
            <a:r>
              <a:rPr lang="zh-CN" altLang="en-US" sz="1700" dirty="0"/>
              <a:t>职责更清晰，能够专注、高效地</a:t>
            </a:r>
            <a:r>
              <a:rPr lang="en-US" altLang="zh-CN" sz="1700" dirty="0" err="1"/>
              <a:t>完成一</a:t>
            </a:r>
            <a:r>
              <a:rPr lang="zh-CN" altLang="en-US" sz="1700" dirty="0"/>
              <a:t>个</a:t>
            </a:r>
            <a:r>
              <a:rPr lang="en-US" altLang="zh-CN" sz="1700" dirty="0" err="1"/>
              <a:t>任务</a:t>
            </a:r>
            <a:r>
              <a:rPr lang="zh-CN" altLang="en-US" sz="1700" dirty="0"/>
              <a:t>。</a:t>
            </a:r>
            <a:endParaRPr lang="zh-CN" altLang="zh-CN" sz="1700" dirty="0"/>
          </a:p>
          <a:p>
            <a:pPr lvl="2" fontAlgn="ctr">
              <a:lnSpc>
                <a:spcPct val="120000"/>
              </a:lnSpc>
            </a:pPr>
            <a:r>
              <a:rPr lang="zh-CN" altLang="en-US" sz="1700" dirty="0"/>
              <a:t>业务的变更只涉及相关的服务变更，变更范围更可控，变更影响大幅降低，方便快速迭代。</a:t>
            </a:r>
            <a:endParaRPr lang="en-US" altLang="zh-CN" sz="1700" dirty="0"/>
          </a:p>
          <a:p>
            <a:pPr lvl="2" fontAlgn="ctr">
              <a:lnSpc>
                <a:spcPct val="120000"/>
              </a:lnSpc>
            </a:pPr>
            <a:r>
              <a:rPr lang="zh-CN" altLang="en-US" sz="1700" dirty="0"/>
              <a:t>降低对技术依赖性，能适应不同的开发语言。如</a:t>
            </a:r>
            <a:r>
              <a:rPr lang="en-US" altLang="zh-CN" sz="1700" dirty="0"/>
              <a:t>JAVA/PHP/GO</a:t>
            </a:r>
            <a:r>
              <a:rPr lang="zh-CN" altLang="en-US" sz="1700" dirty="0"/>
              <a:t>。</a:t>
            </a:r>
            <a:endParaRPr lang="en-US" altLang="zh-CN" sz="1700" dirty="0"/>
          </a:p>
          <a:p>
            <a:pPr lvl="2" fontAlgn="ctr">
              <a:lnSpc>
                <a:spcPct val="120000"/>
              </a:lnSpc>
            </a:pPr>
            <a:r>
              <a:rPr lang="en-US" altLang="zh-CN" sz="1700" dirty="0"/>
              <a:t>……</a:t>
            </a:r>
          </a:p>
          <a:p>
            <a:pPr lvl="2" fontAlgn="ctr">
              <a:lnSpc>
                <a:spcPct val="120000"/>
              </a:lnSpc>
            </a:pPr>
            <a:endParaRPr lang="en-US" altLang="zh-CN" sz="1700" dirty="0"/>
          </a:p>
          <a:p>
            <a:pPr marL="457200" lvl="1" indent="0" fontAlgn="ctr">
              <a:lnSpc>
                <a:spcPct val="12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2</a:t>
            </a:r>
            <a:r>
              <a:rPr lang="zh-CN" altLang="en-US" sz="1700" dirty="0"/>
              <a:t>、</a:t>
            </a:r>
            <a:r>
              <a:rPr lang="zh-CN" altLang="zh-CN" sz="1700" dirty="0"/>
              <a:t>目前比较流行的开源微服务框架</a:t>
            </a:r>
            <a:r>
              <a:rPr lang="zh-CN" altLang="en-US" sz="1700" dirty="0"/>
              <a:t>有</a:t>
            </a:r>
            <a:r>
              <a:rPr lang="en-US" altLang="zh-CN" sz="1700" dirty="0"/>
              <a:t> Spring Cloud</a:t>
            </a:r>
            <a:r>
              <a:rPr lang="zh-CN" altLang="en-US" sz="1700" dirty="0"/>
              <a:t>、</a:t>
            </a:r>
            <a:r>
              <a:rPr lang="en-US" altLang="zh-CN" sz="1700" dirty="0"/>
              <a:t>Dubbo</a:t>
            </a:r>
            <a:r>
              <a:rPr lang="zh-CN" altLang="en-US" sz="1700" dirty="0"/>
              <a:t>等。</a:t>
            </a:r>
            <a:endParaRPr lang="en-US" altLang="zh-CN" sz="1700" dirty="0"/>
          </a:p>
          <a:p>
            <a:pPr marL="457200" lvl="1" indent="0" fontAlgn="ctr">
              <a:lnSpc>
                <a:spcPct val="12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2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3</a:t>
            </a:r>
            <a:r>
              <a:rPr lang="zh-CN" altLang="en-US" sz="1700" dirty="0"/>
              <a:t>、面对的挑战：</a:t>
            </a:r>
            <a:endParaRPr lang="en-US" altLang="zh-CN" sz="1700" dirty="0"/>
          </a:p>
          <a:p>
            <a:pPr marL="812800" lvl="1" indent="0" fontAlgn="ctr">
              <a:lnSpc>
                <a:spcPct val="120000"/>
              </a:lnSpc>
              <a:buFont typeface="Arial" panose="020B0604020202090204" pitchFamily="34" charset="0"/>
              <a:buNone/>
            </a:pPr>
            <a:r>
              <a:rPr lang="zh-CN" altLang="en-US" sz="1700" dirty="0"/>
              <a:t>服务数量的增多，对微服务治理、部署</a:t>
            </a:r>
            <a:r>
              <a:rPr lang="en-US" altLang="zh-CN" sz="1700" dirty="0"/>
              <a:t>/</a:t>
            </a:r>
            <a:r>
              <a:rPr lang="zh-CN" altLang="en-US" sz="1700" dirty="0"/>
              <a:t>版本管理、监控、问题排查、运维、底层基础设施支持等会带来更多挑战。</a:t>
            </a:r>
            <a:endParaRPr lang="en-US" altLang="zh-CN" sz="1700" dirty="0"/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7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367" y="3579192"/>
            <a:ext cx="10607676" cy="26221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90204" pitchFamily="34" charset="0"/>
              <a:buNone/>
            </a:pPr>
            <a:r>
              <a:rPr lang="zh-CN" altLang="en-US" sz="3200" b="1" dirty="0"/>
              <a:t>虎扑的微服务架构、各组件之间的工作流程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669924" y="1412242"/>
            <a:ext cx="10375005" cy="473942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1</a:t>
            </a:r>
            <a:r>
              <a:rPr lang="zh-CN" altLang="en-US" sz="1600" b="1" dirty="0"/>
              <a:t>、服务注册中心：</a:t>
            </a:r>
            <a:r>
              <a:rPr lang="en-US" altLang="zh-CN" sz="1600" b="1" dirty="0"/>
              <a:t> Eureka</a:t>
            </a:r>
          </a:p>
          <a:p>
            <a:pPr marL="536575" indent="-173038"/>
            <a:r>
              <a:rPr lang="zh-CN" altLang="en-US" sz="1600" dirty="0"/>
              <a:t>管理微服务的上下线</a:t>
            </a:r>
            <a:endParaRPr lang="en-US" altLang="zh-CN" sz="1600" dirty="0"/>
          </a:p>
          <a:p>
            <a:pPr marL="536575" indent="-173038"/>
            <a:r>
              <a:rPr lang="zh-CN" altLang="en-US" sz="1600" dirty="0"/>
              <a:t>维护微服务的注册数据，</a:t>
            </a:r>
            <a:br>
              <a:rPr lang="en-US" altLang="zh-CN" sz="1600" dirty="0"/>
            </a:br>
            <a:r>
              <a:rPr lang="zh-CN" altLang="en-US" sz="1600" dirty="0"/>
              <a:t>如健康状态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2</a:t>
            </a:r>
            <a:r>
              <a:rPr lang="zh-CN" altLang="en-US" sz="1600" b="1" dirty="0"/>
              <a:t>、配置中心：</a:t>
            </a:r>
            <a:r>
              <a:rPr lang="en-US" altLang="zh-CN" sz="1600" b="1" dirty="0"/>
              <a:t> Apollo</a:t>
            </a:r>
          </a:p>
          <a:p>
            <a:pPr marL="536575" indent="-173038"/>
            <a:r>
              <a:rPr lang="zh-CN" altLang="en-US" sz="1600" dirty="0"/>
              <a:t>支持远程管理微服务集群的配置</a:t>
            </a:r>
            <a:endParaRPr lang="en-US" altLang="zh-CN" sz="1600" dirty="0"/>
          </a:p>
          <a:p>
            <a:pPr marL="536575" indent="-173038"/>
            <a:r>
              <a:rPr lang="zh-CN" altLang="en-US" sz="1600" dirty="0"/>
              <a:t>支持实时下发配置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、微服务网关：</a:t>
            </a:r>
            <a:r>
              <a:rPr lang="en-US" altLang="zh-CN" sz="1600" b="1" dirty="0" err="1"/>
              <a:t>Zuul</a:t>
            </a:r>
            <a:endParaRPr lang="en-US" altLang="zh-CN" sz="1600" b="1" dirty="0"/>
          </a:p>
          <a:p>
            <a:pPr marL="536575" indent="-173038"/>
            <a:r>
              <a:rPr lang="zh-CN" altLang="en-US" sz="1600" dirty="0"/>
              <a:t>微服务请求统一入口</a:t>
            </a:r>
            <a:endParaRPr lang="en-US" altLang="zh-CN" sz="1600" dirty="0"/>
          </a:p>
          <a:p>
            <a:pPr marL="536575" indent="-173038"/>
            <a:r>
              <a:rPr lang="zh-CN" altLang="en-US" sz="1600" dirty="0"/>
              <a:t>请求路由、熔断、限流</a:t>
            </a:r>
            <a:endParaRPr lang="en-US" altLang="zh-CN" sz="1600" dirty="0"/>
          </a:p>
          <a:p>
            <a:pPr marL="536575" indent="-173038"/>
            <a:r>
              <a:rPr lang="zh-CN" altLang="en-US" sz="1600" dirty="0"/>
              <a:t>统一鉴权、签名、灰度路由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4</a:t>
            </a:r>
            <a:r>
              <a:rPr lang="zh-CN" altLang="en-US" sz="1600" b="1" dirty="0"/>
              <a:t>、服务间调用：</a:t>
            </a:r>
            <a:r>
              <a:rPr lang="en-US" altLang="zh-CN" sz="1600" b="1" dirty="0"/>
              <a:t>Feign Client</a:t>
            </a:r>
          </a:p>
          <a:p>
            <a:pPr marL="536575" indent="-173038"/>
            <a:r>
              <a:rPr lang="en-US" altLang="zh-CN" sz="1600" dirty="0" err="1"/>
              <a:t>Hystrix</a:t>
            </a:r>
            <a:r>
              <a:rPr lang="en-US" altLang="zh-CN" sz="1600" dirty="0"/>
              <a:t> </a:t>
            </a:r>
            <a:r>
              <a:rPr lang="zh-CN" altLang="en-US" sz="1600" dirty="0"/>
              <a:t>提供熔断、限流自我保护能力</a:t>
            </a:r>
            <a:endParaRPr lang="en-US" altLang="zh-CN" sz="1600" dirty="0"/>
          </a:p>
          <a:p>
            <a:pPr marL="536575" indent="-173038"/>
            <a:r>
              <a:rPr lang="en-US" altLang="zh-CN" sz="1600" dirty="0"/>
              <a:t>Ribbon</a:t>
            </a:r>
            <a:r>
              <a:rPr lang="zh-CN" altLang="en-US" sz="1600" dirty="0"/>
              <a:t>提供负载均衡、容错机制</a:t>
            </a:r>
            <a:endParaRPr lang="en-US" altLang="zh-CN" sz="1600" dirty="0"/>
          </a:p>
        </p:txBody>
      </p:sp>
      <p:pic>
        <p:nvPicPr>
          <p:cNvPr id="6" name="Picture 4" descr="AQjNGj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60" y="1310684"/>
            <a:ext cx="8488590" cy="5271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73 -0.00162 L 0.31341 -0.00162 " pathEditMode="relative" ptsTypes="AA">
                                      <p:cBhvr>
                                        <p:cTn id="1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315450" y="3727365"/>
            <a:ext cx="5203922" cy="895350"/>
          </a:xfrm>
        </p:spPr>
        <p:txBody>
          <a:bodyPr>
            <a:normAutofit/>
          </a:bodyPr>
          <a:lstStyle/>
          <a:p>
            <a:r>
              <a:rPr lang="zh-CN" altLang="en-US" sz="3600" dirty="0"/>
              <a:t>微服务应用规范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32985" y="268505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432985" y="3852636"/>
            <a:ext cx="1023516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zh-CN" altLang="en-US" sz="3200" dirty="0"/>
              <a:t>命名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436513" y="1141846"/>
            <a:ext cx="11312664" cy="530499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1</a:t>
            </a:r>
            <a:r>
              <a:rPr lang="zh-CN" altLang="en-US" sz="1700" dirty="0"/>
              <a:t>、微服务命名为三段式命名 </a:t>
            </a:r>
            <a:r>
              <a:rPr lang="en-US" altLang="zh-CN" sz="1700" dirty="0"/>
              <a:t>【</a:t>
            </a:r>
            <a:r>
              <a:rPr lang="zh-CN" altLang="en-US" sz="1700" dirty="0"/>
              <a:t>业务组</a:t>
            </a:r>
            <a:r>
              <a:rPr lang="en-US" altLang="zh-CN" sz="1700" dirty="0"/>
              <a:t>】-【</a:t>
            </a:r>
            <a:r>
              <a:rPr lang="zh-CN" altLang="en-US" sz="1700" dirty="0"/>
              <a:t>业务名</a:t>
            </a:r>
            <a:r>
              <a:rPr lang="en-US" altLang="zh-CN" sz="1700" dirty="0"/>
              <a:t>】-【</a:t>
            </a:r>
            <a:r>
              <a:rPr lang="zh-CN" altLang="en-US" sz="1700" dirty="0"/>
              <a:t>功能</a:t>
            </a:r>
            <a:r>
              <a:rPr lang="en-US" altLang="zh-CN" sz="1700" dirty="0"/>
              <a:t>】</a:t>
            </a:r>
          </a:p>
          <a:p>
            <a:pPr marL="1081088" lvl="1" indent="-277813" fontAlgn="ctr">
              <a:lnSpc>
                <a:spcPct val="130000"/>
              </a:lnSpc>
            </a:pPr>
            <a:r>
              <a:rPr lang="zh-CN" altLang="en-US" sz="1700" dirty="0"/>
              <a:t>业务组例子：</a:t>
            </a:r>
            <a:r>
              <a:rPr lang="en-US" altLang="zh-CN" sz="1700" dirty="0" err="1"/>
              <a:t>bpl</a:t>
            </a:r>
            <a:r>
              <a:rPr lang="en-US" altLang="zh-CN" sz="1700" dirty="0"/>
              <a:t>(</a:t>
            </a:r>
            <a:r>
              <a:rPr lang="zh-CN" altLang="en-US" sz="1700" dirty="0"/>
              <a:t>基线</a:t>
            </a:r>
            <a:r>
              <a:rPr lang="en-US" altLang="zh-CN" sz="1700" dirty="0"/>
              <a:t>)</a:t>
            </a:r>
            <a:r>
              <a:rPr lang="zh-CN" altLang="en-US" sz="1700" dirty="0"/>
              <a:t>、</a:t>
            </a:r>
            <a:r>
              <a:rPr lang="en-US" altLang="zh-CN" sz="1700" dirty="0" err="1"/>
              <a:t>bbs</a:t>
            </a:r>
            <a:r>
              <a:rPr lang="en-US" altLang="zh-CN" sz="1700" dirty="0"/>
              <a:t>(</a:t>
            </a:r>
            <a:r>
              <a:rPr lang="zh-CN" altLang="en-US" sz="1700" dirty="0"/>
              <a:t>社区</a:t>
            </a:r>
            <a:r>
              <a:rPr lang="en-US" altLang="zh-CN" sz="1700" dirty="0"/>
              <a:t>)</a:t>
            </a:r>
          </a:p>
          <a:p>
            <a:pPr marL="1081088" lvl="1" indent="-277813" fontAlgn="ctr">
              <a:lnSpc>
                <a:spcPct val="130000"/>
              </a:lnSpc>
            </a:pPr>
            <a:r>
              <a:rPr lang="zh-CN" altLang="en-US" sz="1700" dirty="0"/>
              <a:t>业务名例子：</a:t>
            </a:r>
            <a:r>
              <a:rPr lang="en-US" altLang="zh-CN" sz="1700" dirty="0"/>
              <a:t>thread</a:t>
            </a:r>
            <a:r>
              <a:rPr lang="zh-CN" altLang="en-US" sz="1700" dirty="0"/>
              <a:t>、</a:t>
            </a:r>
            <a:r>
              <a:rPr lang="en-US" altLang="zh-CN" sz="1700" dirty="0"/>
              <a:t>new</a:t>
            </a:r>
          </a:p>
          <a:p>
            <a:pPr marL="1081088" lvl="1" indent="-277813" fontAlgn="ctr">
              <a:lnSpc>
                <a:spcPct val="130000"/>
              </a:lnSpc>
            </a:pPr>
            <a:r>
              <a:rPr lang="zh-CN" altLang="en-US" sz="1700" dirty="0"/>
              <a:t>功能例子：</a:t>
            </a:r>
            <a:r>
              <a:rPr lang="en-US" altLang="zh-CN" sz="1700" dirty="0" err="1"/>
              <a:t>msv</a:t>
            </a:r>
            <a:r>
              <a:rPr lang="en-US" altLang="zh-CN" sz="1700" dirty="0"/>
              <a:t>(</a:t>
            </a:r>
            <a:r>
              <a:rPr lang="zh-CN" altLang="en-US" sz="1700" dirty="0"/>
              <a:t>微服务独立的功能模块</a:t>
            </a:r>
            <a:r>
              <a:rPr lang="en-US" altLang="zh-CN" sz="1700" dirty="0"/>
              <a:t>)</a:t>
            </a:r>
            <a:r>
              <a:rPr lang="zh-CN" altLang="en-US" sz="1700" dirty="0"/>
              <a:t>、</a:t>
            </a:r>
            <a:r>
              <a:rPr lang="en-US" altLang="zh-CN" sz="1700" dirty="0"/>
              <a:t>job(</a:t>
            </a:r>
            <a:r>
              <a:rPr lang="zh-CN" altLang="en-US" sz="1700" dirty="0"/>
              <a:t>定时</a:t>
            </a:r>
            <a:r>
              <a:rPr lang="en-US" altLang="zh-CN" sz="1700" dirty="0"/>
              <a:t>job)</a:t>
            </a:r>
            <a:r>
              <a:rPr lang="zh-CN" altLang="en-US" sz="1700" dirty="0"/>
              <a:t>、</a:t>
            </a:r>
            <a:r>
              <a:rPr lang="en-US" altLang="zh-CN" sz="1700" dirty="0" err="1"/>
              <a:t>api</a:t>
            </a:r>
            <a:r>
              <a:rPr lang="en-US" altLang="zh-CN" sz="1700" dirty="0"/>
              <a:t>(</a:t>
            </a:r>
            <a:r>
              <a:rPr lang="zh-CN" altLang="en-US" sz="1700" dirty="0"/>
              <a:t>接口</a:t>
            </a:r>
            <a:r>
              <a:rPr lang="en-US" altLang="zh-CN" sz="1700" dirty="0"/>
              <a:t>)</a:t>
            </a:r>
          </a:p>
          <a:p>
            <a:pPr marL="803275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r>
              <a:rPr lang="zh-CN" altLang="en-US" sz="1700" dirty="0"/>
              <a:t>比如：</a:t>
            </a: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endParaRPr lang="en-US" altLang="zh-CN" sz="1700" dirty="0"/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2</a:t>
            </a:r>
            <a:r>
              <a:rPr lang="zh-CN" altLang="en-US" sz="1700" dirty="0"/>
              <a:t>、</a:t>
            </a:r>
            <a:r>
              <a:rPr lang="en-US" altLang="zh-CN" sz="1700" dirty="0"/>
              <a:t> Eureka</a:t>
            </a:r>
            <a:r>
              <a:rPr lang="zh-CN" altLang="en-US" sz="1700" dirty="0"/>
              <a:t>注册名称、</a:t>
            </a:r>
            <a:r>
              <a:rPr lang="en-US" altLang="zh-CN" sz="1700" dirty="0"/>
              <a:t>spring.application.name</a:t>
            </a:r>
            <a:r>
              <a:rPr lang="zh-CN" altLang="en-US" sz="1700" dirty="0"/>
              <a:t>、工程名、</a:t>
            </a:r>
            <a:r>
              <a:rPr lang="en-US" altLang="zh-CN" sz="1700" dirty="0"/>
              <a:t>Apollo</a:t>
            </a:r>
            <a:r>
              <a:rPr lang="zh-CN" altLang="en-US" sz="1700" dirty="0"/>
              <a:t>的</a:t>
            </a:r>
            <a:r>
              <a:rPr lang="en-US" altLang="zh-CN" sz="1700" dirty="0" err="1"/>
              <a:t>appid</a:t>
            </a:r>
            <a:r>
              <a:rPr lang="zh-CN" altLang="en-US" sz="1700" dirty="0"/>
              <a:t>与微服务名称保持一致</a:t>
            </a:r>
          </a:p>
          <a:p>
            <a:pPr marL="457200" lvl="1" indent="0" fontAlgn="ctr">
              <a:lnSpc>
                <a:spcPct val="130000"/>
              </a:lnSpc>
              <a:buFont typeface="Arial" panose="020B0604020202090204" pitchFamily="34" charset="0"/>
              <a:buNone/>
            </a:pPr>
            <a:r>
              <a:rPr lang="en-US" altLang="zh-CN" sz="1700" dirty="0"/>
              <a:t>3</a:t>
            </a:r>
            <a:r>
              <a:rPr lang="zh-CN" altLang="en-US" sz="1700" dirty="0"/>
              <a:t>、可执行</a:t>
            </a:r>
            <a:r>
              <a:rPr lang="en-US" altLang="zh-CN" sz="1700" dirty="0"/>
              <a:t>jar</a:t>
            </a:r>
            <a:r>
              <a:rPr lang="zh-CN" altLang="en-US" sz="1700" dirty="0"/>
              <a:t>命名规则：</a:t>
            </a:r>
            <a:r>
              <a:rPr lang="en-US" altLang="zh-CN" sz="1700" dirty="0"/>
              <a:t>&lt;</a:t>
            </a:r>
            <a:r>
              <a:rPr lang="zh-CN" altLang="en-US" sz="1700" dirty="0"/>
              <a:t>微服务名</a:t>
            </a:r>
            <a:r>
              <a:rPr lang="en-US" altLang="zh-CN" sz="1700" dirty="0"/>
              <a:t>&gt;-exec </a:t>
            </a:r>
            <a:r>
              <a:rPr lang="zh-CN" altLang="en-US" sz="1700" dirty="0"/>
              <a:t>如：</a:t>
            </a:r>
            <a:r>
              <a:rPr lang="en-US" altLang="zh-CN" sz="1700" dirty="0" err="1"/>
              <a:t>msv-permisssion-api</a:t>
            </a:r>
            <a:r>
              <a:rPr lang="en-US" altLang="zh-CN" sz="1700" dirty="0"/>
              <a:t> </a:t>
            </a:r>
            <a:r>
              <a:rPr lang="zh-CN" altLang="en-US" sz="1700" dirty="0"/>
              <a:t>包名称为：</a:t>
            </a:r>
            <a:r>
              <a:rPr lang="en-US" altLang="zh-CN" sz="1700" dirty="0"/>
              <a:t>msv-permisssion-api-exec.jar</a:t>
            </a:r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7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480" y="3375992"/>
            <a:ext cx="10077450" cy="15906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zh-CN" altLang="en-US" sz="3200" b="1" dirty="0"/>
              <a:t>创建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837405" y="1253331"/>
            <a:ext cx="10515600" cy="54245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zh-CN" altLang="en-US" b="1" dirty="0"/>
              <a:t>方式</a:t>
            </a:r>
            <a:r>
              <a:rPr lang="en-US" altLang="zh-CN" b="1" dirty="0"/>
              <a:t>1</a:t>
            </a:r>
            <a:r>
              <a:rPr lang="zh-CN" altLang="en-US" b="1" dirty="0"/>
              <a:t>、使用脚手架生成项目</a:t>
            </a:r>
            <a:endParaRPr lang="en-US" altLang="zh-CN" b="1" dirty="0"/>
          </a:p>
          <a:p>
            <a:r>
              <a:rPr lang="zh-CN" altLang="en-US" dirty="0"/>
              <a:t>详情见：</a:t>
            </a:r>
            <a:r>
              <a:rPr lang="en-US" altLang="zh-CN" dirty="0">
                <a:hlinkClick r:id="rId3"/>
              </a:rPr>
              <a:t> http://msv-sugar.hupu.io/#/monit/index</a:t>
            </a:r>
            <a:endParaRPr lang="en-US" altLang="zh-CN" dirty="0"/>
          </a:p>
          <a:p>
            <a:pPr marL="0" indent="0">
              <a:buFont typeface="Arial" panose="020B0604020202090204" pitchFamily="34" charset="0"/>
              <a:buNone/>
            </a:pPr>
            <a:endParaRPr lang="en-US" altLang="zh-CN" b="1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zh-CN" altLang="en-US" b="1" dirty="0"/>
              <a:t>方式</a:t>
            </a:r>
            <a:r>
              <a:rPr lang="en-US" altLang="zh-CN" b="1" dirty="0"/>
              <a:t>2</a:t>
            </a:r>
            <a:r>
              <a:rPr lang="zh-CN" altLang="en-US" b="1" dirty="0"/>
              <a:t>、手动搭建</a:t>
            </a:r>
            <a:endParaRPr lang="en-US" altLang="zh-CN" b="1" dirty="0"/>
          </a:p>
          <a:p>
            <a:r>
              <a:rPr lang="zh-CN" altLang="en-US" dirty="0"/>
              <a:t>可参考</a:t>
            </a:r>
            <a:r>
              <a:rPr lang="en-US" altLang="zh-CN" dirty="0"/>
              <a:t>demo</a:t>
            </a:r>
            <a:r>
              <a:rPr lang="zh-CN" altLang="en-US" dirty="0"/>
              <a:t>：</a:t>
            </a:r>
            <a:r>
              <a:rPr lang="en-US" altLang="zh-CN" dirty="0"/>
              <a:t>app-provider-</a:t>
            </a:r>
            <a:r>
              <a:rPr lang="en-US" altLang="zh-CN" dirty="0" err="1"/>
              <a:t>msv</a:t>
            </a:r>
            <a:r>
              <a:rPr lang="en-US" altLang="zh-CN" dirty="0"/>
              <a:t> </a:t>
            </a:r>
            <a:r>
              <a:rPr lang="zh-CN" altLang="en-US" dirty="0"/>
              <a:t> </a:t>
            </a:r>
            <a:r>
              <a:rPr lang="en-US" altLang="zh-CN" dirty="0">
                <a:hlinkClick r:id="rId4"/>
              </a:rPr>
              <a:t>http://docs.hupu.io/pages/viewpage.action?pageId=1838019</a:t>
            </a:r>
            <a:endParaRPr lang="en-US" altLang="zh-CN" dirty="0"/>
          </a:p>
          <a:p>
            <a:r>
              <a:rPr lang="zh-CN" altLang="en-US" dirty="0"/>
              <a:t>主要的规范有：</a:t>
            </a:r>
            <a:endParaRPr lang="en-US" altLang="zh-CN" dirty="0"/>
          </a:p>
          <a:p>
            <a:pPr marL="579438" indent="-219075">
              <a:buFont typeface="+mj-lt"/>
              <a:buAutoNum type="romanUcPeriod"/>
            </a:pPr>
            <a:r>
              <a:rPr lang="zh-CN" altLang="en-US" dirty="0"/>
              <a:t>引入微服务基础依赖 </a:t>
            </a:r>
            <a:r>
              <a:rPr lang="en-US" altLang="zh-CN" dirty="0" err="1"/>
              <a:t>msv</a:t>
            </a:r>
            <a:r>
              <a:rPr lang="en-US" altLang="zh-CN" dirty="0"/>
              <a:t>-foundation</a:t>
            </a:r>
            <a:r>
              <a:rPr lang="zh-CN" altLang="en-US" dirty="0"/>
              <a:t>，使用最新稳定版本即可。</a:t>
            </a:r>
            <a:endParaRPr lang="en-US" altLang="zh-CN" dirty="0"/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zh-CN" altLang="en-US" sz="1800" dirty="0"/>
              <a:t> </a:t>
            </a:r>
            <a:r>
              <a:rPr lang="en-US" altLang="zh-CN" sz="1400" dirty="0"/>
              <a:t>&lt;dependency&gt;  </a:t>
            </a:r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en-US" altLang="zh-CN" sz="1400" dirty="0"/>
              <a:t>	          &lt;</a:t>
            </a:r>
            <a:r>
              <a:rPr lang="en-US" altLang="zh-CN" sz="1400" dirty="0" err="1"/>
              <a:t>groupId</a:t>
            </a:r>
            <a:r>
              <a:rPr lang="en-US" altLang="zh-CN" sz="1400" dirty="0"/>
              <a:t>&gt;</a:t>
            </a:r>
            <a:r>
              <a:rPr lang="en-US" altLang="zh-CN" sz="1400" dirty="0" err="1"/>
              <a:t>com.hupuarena</a:t>
            </a:r>
            <a:r>
              <a:rPr lang="en-US" altLang="zh-CN" sz="1400" dirty="0"/>
              <a:t>&lt;/</a:t>
            </a:r>
            <a:r>
              <a:rPr lang="en-US" altLang="zh-CN" sz="1400" dirty="0" err="1"/>
              <a:t>groupId</a:t>
            </a:r>
            <a:r>
              <a:rPr lang="en-US" altLang="zh-CN" sz="1400" dirty="0"/>
              <a:t>&gt;  </a:t>
            </a:r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en-US" altLang="zh-CN" sz="1400" dirty="0"/>
              <a:t>	          &lt;</a:t>
            </a:r>
            <a:r>
              <a:rPr lang="en-US" altLang="zh-CN" sz="1400" dirty="0" err="1"/>
              <a:t>artifactId</a:t>
            </a:r>
            <a:r>
              <a:rPr lang="en-US" altLang="zh-CN" sz="1400" dirty="0"/>
              <a:t>&gt;</a:t>
            </a:r>
            <a:r>
              <a:rPr lang="en-US" altLang="zh-CN" sz="1400" dirty="0" err="1"/>
              <a:t>msv</a:t>
            </a:r>
            <a:r>
              <a:rPr lang="en-US" altLang="zh-CN" sz="1400" dirty="0"/>
              <a:t>-foundation-parent&lt;/</a:t>
            </a:r>
            <a:r>
              <a:rPr lang="en-US" altLang="zh-CN" sz="1400" dirty="0" err="1"/>
              <a:t>artifactId</a:t>
            </a:r>
            <a:r>
              <a:rPr lang="en-US" altLang="zh-CN" sz="1400" dirty="0"/>
              <a:t>&gt;  </a:t>
            </a:r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en-US" altLang="zh-CN" sz="1400" dirty="0"/>
              <a:t>	          &lt;version&gt;</a:t>
            </a:r>
            <a:r>
              <a:rPr lang="zh-CN" altLang="en-US" sz="1400" dirty="0"/>
              <a:t>最新版本</a:t>
            </a:r>
            <a:r>
              <a:rPr lang="en-US" altLang="zh-CN" sz="1400" dirty="0"/>
              <a:t>&lt;/version&gt;  </a:t>
            </a:r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en-US" altLang="zh-CN" sz="1400" dirty="0"/>
              <a:t>	          &lt;type&gt;pom&lt;/type&gt;  </a:t>
            </a:r>
          </a:p>
          <a:p>
            <a:pPr marL="457200" lvl="1" indent="0" fontAlgn="ctr">
              <a:buFont typeface="Arial" panose="020B0604020202090204" pitchFamily="34" charset="0"/>
              <a:buNone/>
            </a:pPr>
            <a:r>
              <a:rPr lang="en-US" altLang="zh-CN" sz="1400" dirty="0"/>
              <a:t> &lt;/dependency&gt;  </a:t>
            </a:r>
          </a:p>
          <a:p>
            <a:pPr marL="623888" indent="-263525">
              <a:buFont typeface="+mj-lt"/>
              <a:buAutoNum type="romanUcPeriod"/>
            </a:pPr>
            <a:r>
              <a:rPr lang="zh-CN" altLang="en-US" dirty="0"/>
              <a:t>指定</a:t>
            </a:r>
            <a:r>
              <a:rPr lang="en-US" altLang="zh-CN" dirty="0"/>
              <a:t>maven</a:t>
            </a:r>
            <a:r>
              <a:rPr lang="zh-CN" altLang="en-US" dirty="0"/>
              <a:t>私服仓库</a:t>
            </a:r>
            <a:endParaRPr lang="en-US" altLang="zh-CN" dirty="0"/>
          </a:p>
          <a:p>
            <a:pPr marL="623888" indent="-263525">
              <a:buFont typeface="+mj-lt"/>
              <a:buAutoNum type="romanUcPeriod"/>
            </a:pPr>
            <a:r>
              <a:rPr lang="zh-CN" altLang="en-US" dirty="0"/>
              <a:t>加入</a:t>
            </a:r>
            <a:r>
              <a:rPr lang="en-US" altLang="zh-CN" dirty="0"/>
              <a:t>build</a:t>
            </a:r>
            <a:r>
              <a:rPr lang="zh-CN" altLang="en-US" dirty="0"/>
              <a:t>配置，生成可执行包名为 ：</a:t>
            </a:r>
            <a:r>
              <a:rPr lang="en-US" altLang="zh-CN" dirty="0"/>
              <a:t>&lt;</a:t>
            </a:r>
            <a:r>
              <a:rPr lang="zh-CN" altLang="en-US" dirty="0"/>
              <a:t>微服务名</a:t>
            </a:r>
            <a:r>
              <a:rPr lang="en-US" altLang="zh-CN" dirty="0"/>
              <a:t>&gt;-exec.</a:t>
            </a:r>
          </a:p>
          <a:p>
            <a:pPr marL="623888" indent="-263525">
              <a:buFont typeface="+mj-lt"/>
              <a:buAutoNum type="romanUcPeriod"/>
            </a:pPr>
            <a:r>
              <a:rPr lang="zh-CN" altLang="en-US" dirty="0"/>
              <a:t>启动微服务，在</a:t>
            </a:r>
            <a:r>
              <a:rPr lang="en-US" altLang="zh-CN" dirty="0"/>
              <a:t>Eureka</a:t>
            </a:r>
            <a:r>
              <a:rPr lang="zh-CN" altLang="en-US" dirty="0"/>
              <a:t>中显示</a:t>
            </a:r>
            <a:r>
              <a:rPr lang="en-US" altLang="zh-CN" dirty="0"/>
              <a:t>UP </a:t>
            </a:r>
            <a:r>
              <a:rPr lang="zh-CN" altLang="en-US" dirty="0"/>
              <a:t>，则表示微服务部署成功。</a:t>
            </a:r>
            <a:endParaRPr lang="en-US" altLang="zh-CN" dirty="0"/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6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205" y="3937146"/>
            <a:ext cx="5704523" cy="1514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200" dirty="0"/>
              <a:t>微服务应用规范 </a:t>
            </a:r>
            <a:r>
              <a:rPr lang="en-US" altLang="zh-CN" sz="3200" dirty="0"/>
              <a:t>- </a:t>
            </a:r>
            <a:r>
              <a:rPr lang="zh-CN" altLang="en-US" sz="3200" b="1" dirty="0"/>
              <a:t>配置</a:t>
            </a:r>
            <a:endParaRPr lang="en-US" altLang="zh-CN" sz="3200" b="1" dirty="0"/>
          </a:p>
        </p:txBody>
      </p:sp>
      <p:sp>
        <p:nvSpPr>
          <p:cNvPr id="5" name="内容占位符 2"/>
          <p:cNvSpPr txBox="1"/>
          <p:nvPr/>
        </p:nvSpPr>
        <p:spPr>
          <a:xfrm>
            <a:off x="837405" y="1137630"/>
            <a:ext cx="10515600" cy="43513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1</a:t>
            </a:r>
            <a:r>
              <a:rPr lang="zh-CN" altLang="en-US" sz="1600" b="1" dirty="0"/>
              <a:t>、本地配置文件：</a:t>
            </a:r>
            <a:endParaRPr lang="en-US" altLang="zh-CN" sz="1600" b="1" dirty="0"/>
          </a:p>
          <a:p>
            <a:pPr marL="539750" indent="-179388">
              <a:buFont typeface="Arial" panose="020B0604020202020204" pitchFamily="34" charset="0"/>
              <a:buChar char="•"/>
            </a:pPr>
            <a:r>
              <a:rPr lang="zh-CN" altLang="en-US" sz="1600" dirty="0"/>
              <a:t>本地配置文件支持 </a:t>
            </a:r>
            <a:r>
              <a:rPr lang="en-US" altLang="zh-CN" sz="1600" dirty="0" err="1"/>
              <a:t>yaml</a:t>
            </a:r>
            <a:r>
              <a:rPr lang="zh-CN" altLang="en-US" sz="1600" dirty="0"/>
              <a:t>及</a:t>
            </a:r>
            <a:r>
              <a:rPr lang="en-US" altLang="zh-CN" sz="1600" dirty="0"/>
              <a:t>properties</a:t>
            </a:r>
            <a:r>
              <a:rPr lang="zh-CN" altLang="en-US" sz="1600" dirty="0"/>
              <a:t>，优先级是</a:t>
            </a:r>
            <a:r>
              <a:rPr lang="en-US" altLang="zh-CN" sz="1600" dirty="0"/>
              <a:t>properties &gt; </a:t>
            </a:r>
            <a:r>
              <a:rPr lang="en-US" altLang="zh-CN" sz="1600" dirty="0" err="1"/>
              <a:t>yaml</a:t>
            </a:r>
            <a:r>
              <a:rPr lang="zh-CN" altLang="en-US" sz="1600" dirty="0"/>
              <a:t>，避免一个项目中使用两种不同格式的配置。</a:t>
            </a:r>
          </a:p>
          <a:p>
            <a:pPr marL="539750" indent="-179388">
              <a:buFont typeface="Arial" panose="020B0604020202020204" pitchFamily="34" charset="0"/>
              <a:buChar char="•"/>
            </a:pPr>
            <a:r>
              <a:rPr lang="en-US" altLang="zh-CN" sz="1600" dirty="0" err="1"/>
              <a:t>application.properties</a:t>
            </a:r>
            <a:r>
              <a:rPr lang="en-US" altLang="zh-CN" sz="1600" dirty="0"/>
              <a:t> </a:t>
            </a:r>
            <a:r>
              <a:rPr lang="zh-CN" altLang="en-US" sz="1600" dirty="0"/>
              <a:t>：和环境无关的公共配置、默认配置。</a:t>
            </a:r>
          </a:p>
          <a:p>
            <a:pPr marL="539750" indent="-179388">
              <a:buFont typeface="Arial" panose="020B0604020202020204" pitchFamily="34" charset="0"/>
              <a:buChar char="•"/>
            </a:pPr>
            <a:r>
              <a:rPr lang="en-US" altLang="zh-CN" sz="1600" dirty="0"/>
              <a:t>application-&lt;</a:t>
            </a:r>
            <a:r>
              <a:rPr lang="zh-CN" altLang="en-US" sz="1600" dirty="0"/>
              <a:t>环境</a:t>
            </a:r>
            <a:r>
              <a:rPr lang="en-US" altLang="zh-CN" sz="1600" dirty="0"/>
              <a:t>dev/sit/stg/prod&gt;.properties </a:t>
            </a:r>
            <a:r>
              <a:rPr lang="zh-CN" altLang="en-US" sz="1600" dirty="0"/>
              <a:t>：和配置环境区分的配置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2</a:t>
            </a:r>
            <a:r>
              <a:rPr lang="zh-CN" altLang="en-US" sz="1600" b="1" dirty="0"/>
              <a:t>、远程配置中心 </a:t>
            </a:r>
            <a:r>
              <a:rPr lang="en-US" altLang="zh-CN" sz="1600" b="1" dirty="0"/>
              <a:t>Apollo</a:t>
            </a:r>
          </a:p>
          <a:p>
            <a:pPr marL="539750" indent="-179388"/>
            <a:r>
              <a:rPr lang="zh-CN" altLang="en-US" sz="1600" dirty="0"/>
              <a:t>支持动态下发配置到微服务集群，目前只支持</a:t>
            </a:r>
            <a:r>
              <a:rPr lang="en-US" altLang="zh-CN" sz="1600" dirty="0"/>
              <a:t>properties</a:t>
            </a:r>
            <a:r>
              <a:rPr lang="zh-CN" altLang="en-US" sz="1600" dirty="0"/>
              <a:t>格式的配置。</a:t>
            </a:r>
            <a:endParaRPr lang="en-US" altLang="zh-CN" sz="1600" dirty="0"/>
          </a:p>
          <a:p>
            <a:pPr marL="539750" indent="-179388"/>
            <a:r>
              <a:rPr lang="zh-CN" altLang="en-US" sz="1600" dirty="0"/>
              <a:t>使用规范：在启动参数中，根据环境添加配置：</a:t>
            </a:r>
            <a:r>
              <a:rPr lang="en-US" altLang="zh-CN" sz="1600" dirty="0"/>
              <a:t>-</a:t>
            </a:r>
            <a:r>
              <a:rPr lang="en-US" altLang="zh-CN" sz="1600" dirty="0" err="1"/>
              <a:t>Denv</a:t>
            </a:r>
            <a:r>
              <a:rPr lang="en-US" altLang="zh-CN" sz="1600" dirty="0"/>
              <a:t>=DEV -Dapp.id=</a:t>
            </a:r>
            <a:r>
              <a:rPr lang="zh-CN" altLang="en-US" sz="1600" dirty="0"/>
              <a:t>微服务名 </a:t>
            </a:r>
            <a:r>
              <a:rPr lang="en-US" altLang="zh-CN" sz="1600" dirty="0"/>
              <a:t>-</a:t>
            </a:r>
            <a:r>
              <a:rPr lang="en-US" altLang="zh-CN" sz="1600" dirty="0" err="1"/>
              <a:t>Ddev_meta</a:t>
            </a:r>
            <a:r>
              <a:rPr lang="en-US" altLang="zh-CN" sz="1600" dirty="0"/>
              <a:t>=http://192.168.11.45:8080</a:t>
            </a:r>
          </a:p>
          <a:p>
            <a:pPr marL="539750" indent="-179388"/>
            <a:r>
              <a:rPr lang="zh-CN" altLang="en-US" sz="1600" dirty="0"/>
              <a:t>具体使用流程，参考</a:t>
            </a:r>
            <a:r>
              <a:rPr lang="en-US" altLang="zh-CN" sz="1600" dirty="0">
                <a:hlinkClick r:id="rId3"/>
              </a:rPr>
              <a:t>http://docs.hupu.io/pages/viewpage.action?pageId=1838046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3</a:t>
            </a:r>
            <a:r>
              <a:rPr lang="zh-CN" altLang="en-US" sz="1600" b="1" dirty="0"/>
              <a:t>、配置生效的优先级：</a:t>
            </a:r>
            <a:r>
              <a:rPr lang="en-US" altLang="zh-CN" sz="1600" dirty="0"/>
              <a:t>Apollo  &gt; </a:t>
            </a:r>
            <a:r>
              <a:rPr lang="zh-CN" altLang="en-US" sz="1600" dirty="0"/>
              <a:t>本地</a:t>
            </a:r>
            <a:r>
              <a:rPr lang="en-US" altLang="zh-CN" sz="1600" dirty="0" err="1"/>
              <a:t>application.yaml</a:t>
            </a:r>
            <a:r>
              <a:rPr lang="zh-CN" altLang="en-US" sz="1600" dirty="0"/>
              <a:t>配置  </a:t>
            </a:r>
            <a:r>
              <a:rPr lang="en-US" altLang="zh-CN" sz="1600" dirty="0"/>
              <a:t>&gt;  </a:t>
            </a:r>
            <a:r>
              <a:rPr lang="zh-CN" altLang="en-US" sz="1600" dirty="0"/>
              <a:t>本地</a:t>
            </a:r>
            <a:r>
              <a:rPr lang="en-US" altLang="zh-CN" sz="1600" dirty="0" err="1"/>
              <a:t>application.properties</a:t>
            </a:r>
            <a:r>
              <a:rPr lang="zh-CN" altLang="en-US" sz="1600" dirty="0"/>
              <a:t>配置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b="1" dirty="0"/>
              <a:t>4</a:t>
            </a:r>
            <a:r>
              <a:rPr lang="zh-CN" altLang="en-US" sz="1600" b="1" dirty="0"/>
              <a:t>、其它规范</a:t>
            </a:r>
          </a:p>
          <a:p>
            <a:pPr marL="539750" indent="-179388"/>
            <a:r>
              <a:rPr lang="zh-CN" altLang="en-US" sz="1600" dirty="0"/>
              <a:t>配置项的</a:t>
            </a:r>
            <a:r>
              <a:rPr lang="en-US" altLang="zh-CN" sz="1600" dirty="0"/>
              <a:t>Key</a:t>
            </a:r>
            <a:r>
              <a:rPr lang="zh-CN" altLang="en-US" sz="1600" dirty="0"/>
              <a:t>使用英文、横线配置，如</a:t>
            </a:r>
            <a:r>
              <a:rPr lang="en-US" altLang="zh-CN" sz="1600" dirty="0" err="1"/>
              <a:t>eureka.instance.prefer</a:t>
            </a:r>
            <a:r>
              <a:rPr lang="en-US" altLang="zh-CN" sz="1600" dirty="0"/>
              <a:t>-</a:t>
            </a:r>
            <a:r>
              <a:rPr lang="en-US" altLang="zh-CN" sz="1600" dirty="0" err="1"/>
              <a:t>ip</a:t>
            </a:r>
            <a:r>
              <a:rPr lang="en-US" altLang="zh-CN" sz="1600" dirty="0"/>
              <a:t>-address=true</a:t>
            </a:r>
          </a:p>
          <a:p>
            <a:pPr marL="539750" indent="-179388"/>
            <a:r>
              <a:rPr lang="zh-CN" altLang="en-US" sz="1600" dirty="0"/>
              <a:t>配置项必须有明确的意义，如</a:t>
            </a:r>
            <a:endParaRPr lang="en-US" altLang="zh-CN" sz="1600" dirty="0"/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	</a:t>
            </a:r>
            <a:r>
              <a:rPr lang="zh-CN" altLang="en-US" sz="1600" dirty="0"/>
              <a:t>正例：</a:t>
            </a:r>
            <a:r>
              <a:rPr lang="en-US" altLang="zh-CN" sz="1600" dirty="0" err="1"/>
              <a:t>spider.pubg.webpage.queue.count</a:t>
            </a:r>
            <a:r>
              <a:rPr lang="en-US" altLang="zh-CN" sz="1600" dirty="0"/>
              <a:t>=5 </a:t>
            </a:r>
          </a:p>
          <a:p>
            <a:pPr marL="0" indent="0">
              <a:buFont typeface="Arial" panose="020B0604020202090204" pitchFamily="34" charset="0"/>
              <a:buNone/>
            </a:pPr>
            <a:r>
              <a:rPr lang="en-US" altLang="zh-CN" sz="1600" dirty="0"/>
              <a:t>	</a:t>
            </a:r>
            <a:r>
              <a:rPr lang="zh-CN" altLang="en-US" sz="1600" dirty="0"/>
              <a:t>反例：</a:t>
            </a:r>
            <a:r>
              <a:rPr lang="en-US" altLang="zh-CN" sz="1600" dirty="0" err="1"/>
              <a:t>queue.count</a:t>
            </a:r>
            <a:r>
              <a:rPr lang="en-US" altLang="zh-CN" sz="1600" dirty="0"/>
              <a:t>=5</a:t>
            </a:r>
          </a:p>
          <a:p>
            <a:pPr marL="539750" indent="-179388"/>
            <a:r>
              <a:rPr lang="zh-CN" altLang="en-US" sz="1600" dirty="0"/>
              <a:t>推荐使用</a:t>
            </a:r>
            <a:r>
              <a:rPr lang="en-US" altLang="zh-CN" sz="1600" dirty="0" err="1"/>
              <a:t>spring.profile.active</a:t>
            </a:r>
            <a:r>
              <a:rPr lang="zh-CN" altLang="en-US" sz="1600" dirty="0"/>
              <a:t>来指定</a:t>
            </a:r>
            <a:r>
              <a:rPr lang="en-US" altLang="zh-CN" sz="1600" dirty="0"/>
              <a:t>profile</a:t>
            </a:r>
            <a:r>
              <a:rPr lang="zh-CN" altLang="en-US" sz="1600" dirty="0"/>
              <a:t>，不建议使用</a:t>
            </a:r>
            <a:r>
              <a:rPr lang="en-US" altLang="zh-CN" sz="1600" dirty="0"/>
              <a:t>maven</a:t>
            </a:r>
            <a:r>
              <a:rPr lang="zh-CN" altLang="en-US" sz="1600" dirty="0"/>
              <a:t>在编译期指定运行环境</a:t>
            </a:r>
            <a:r>
              <a:rPr lang="en-US" altLang="zh-CN" sz="1600" dirty="0"/>
              <a:t>-P&lt;env&gt;</a:t>
            </a:r>
          </a:p>
          <a:p>
            <a:pPr marL="0" indent="0">
              <a:buFont typeface="Arial" panose="020B0604020202090204" pitchFamily="34" charset="0"/>
              <a:buNone/>
            </a:pPr>
            <a:endParaRPr lang="zh-CN" altLang="en-US" sz="14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3445"/>
      </a:accent1>
      <a:accent2>
        <a:srgbClr val="F17F00"/>
      </a:accent2>
      <a:accent3>
        <a:srgbClr val="FFAE00"/>
      </a:accent3>
      <a:accent4>
        <a:srgbClr val="9D2E1D"/>
      </a:accent4>
      <a:accent5>
        <a:srgbClr val="517A63"/>
      </a:accent5>
      <a:accent6>
        <a:srgbClr val="6A6B5E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445"/>
    </a:accent1>
    <a:accent2>
      <a:srgbClr val="F17F00"/>
    </a:accent2>
    <a:accent3>
      <a:srgbClr val="FFAE00"/>
    </a:accent3>
    <a:accent4>
      <a:srgbClr val="9D2E1D"/>
    </a:accent4>
    <a:accent5>
      <a:srgbClr val="517A63"/>
    </a:accent5>
    <a:accent6>
      <a:srgbClr val="6A6B5E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445"/>
    </a:accent1>
    <a:accent2>
      <a:srgbClr val="F17F00"/>
    </a:accent2>
    <a:accent3>
      <a:srgbClr val="FFAE00"/>
    </a:accent3>
    <a:accent4>
      <a:srgbClr val="9D2E1D"/>
    </a:accent4>
    <a:accent5>
      <a:srgbClr val="517A63"/>
    </a:accent5>
    <a:accent6>
      <a:srgbClr val="6A6B5E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445"/>
    </a:accent1>
    <a:accent2>
      <a:srgbClr val="F17F00"/>
    </a:accent2>
    <a:accent3>
      <a:srgbClr val="FFAE00"/>
    </a:accent3>
    <a:accent4>
      <a:srgbClr val="9D2E1D"/>
    </a:accent4>
    <a:accent5>
      <a:srgbClr val="517A63"/>
    </a:accent5>
    <a:accent6>
      <a:srgbClr val="6A6B5E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445"/>
    </a:accent1>
    <a:accent2>
      <a:srgbClr val="F17F00"/>
    </a:accent2>
    <a:accent3>
      <a:srgbClr val="FFAE00"/>
    </a:accent3>
    <a:accent4>
      <a:srgbClr val="9D2E1D"/>
    </a:accent4>
    <a:accent5>
      <a:srgbClr val="517A63"/>
    </a:accent5>
    <a:accent6>
      <a:srgbClr val="6A6B5E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0</TotalTime>
  <Words>1596</Words>
  <Application>Microsoft Office PowerPoint</Application>
  <PresentationFormat>宽屏</PresentationFormat>
  <Paragraphs>206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9" baseType="lpstr">
      <vt:lpstr>等线</vt:lpstr>
      <vt:lpstr>微软雅黑</vt:lpstr>
      <vt:lpstr>系统字体</vt:lpstr>
      <vt:lpstr>Arial</vt:lpstr>
      <vt:lpstr>Calibri</vt:lpstr>
      <vt:lpstr>Impact</vt:lpstr>
      <vt:lpstr>主题5</vt:lpstr>
      <vt:lpstr>think-cell Slide</vt:lpstr>
      <vt:lpstr>技术培训生课程  微服务应用规范 与治理体系</vt:lpstr>
      <vt:lpstr>PowerPoint 演示文稿</vt:lpstr>
      <vt:lpstr>虎扑微服务介绍</vt:lpstr>
      <vt:lpstr>微服务是什么，有什么优势?</vt:lpstr>
      <vt:lpstr>虎扑的微服务架构、各组件之间的工作流程</vt:lpstr>
      <vt:lpstr>微服务应用规范</vt:lpstr>
      <vt:lpstr>微服务应用规范 - 命名</vt:lpstr>
      <vt:lpstr>微服务应用规范 - 创建</vt:lpstr>
      <vt:lpstr>微服务应用规范 - 配置</vt:lpstr>
      <vt:lpstr>微服务应用规范 - 调用</vt:lpstr>
      <vt:lpstr>微服务应用规范 - 调用</vt:lpstr>
      <vt:lpstr>微服务应用规范 - 调用</vt:lpstr>
      <vt:lpstr>微服务应用规范 - Zuul网关使用和功能接入</vt:lpstr>
      <vt:lpstr>虎扑微服务治理实践</vt:lpstr>
      <vt:lpstr>PowerPoint 演示文稿</vt:lpstr>
      <vt:lpstr>微服务治理 - 我们要做的</vt:lpstr>
      <vt:lpstr>微服务治理 - Caesar总体流程</vt:lpstr>
      <vt:lpstr>微服务治理 - 现有功能</vt:lpstr>
      <vt:lpstr>微服务治理 - 现有功能</vt:lpstr>
      <vt:lpstr>考一考：钉钉扫码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邱艳文</cp:lastModifiedBy>
  <cp:revision>71</cp:revision>
  <cp:lastPrinted>2020-08-10T09:01:30Z</cp:lastPrinted>
  <dcterms:created xsi:type="dcterms:W3CDTF">2020-08-10T09:01:30Z</dcterms:created>
  <dcterms:modified xsi:type="dcterms:W3CDTF">2020-08-12T06:3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1033-2.3.1.3761</vt:lpwstr>
  </property>
</Properties>
</file>